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3"/>
  </p:notesMasterIdLst>
  <p:handoutMasterIdLst>
    <p:handoutMasterId r:id="rId4"/>
  </p:handoutMasterIdLst>
  <p:sldIdLst>
    <p:sldId id="257" r:id="rId2"/>
  </p:sldIdLst>
  <p:sldSz cx="42845038" cy="30243463"/>
  <p:notesSz cx="6858000" cy="9144000"/>
  <p:custDataLst>
    <p:tags r:id="rId5"/>
  </p:custDataLst>
  <p:defaultTextStyle>
    <a:defPPr>
      <a:defRPr lang="en-US"/>
    </a:defPPr>
    <a:lvl1pPr marL="0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1pPr>
    <a:lvl2pPr marL="2088215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2pPr>
    <a:lvl3pPr marL="4176431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3pPr>
    <a:lvl4pPr marL="6264646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4pPr>
    <a:lvl5pPr marL="8352861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5pPr>
    <a:lvl6pPr marL="10441076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6pPr>
    <a:lvl7pPr marL="12529292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7pPr>
    <a:lvl8pPr marL="14617507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8pPr>
    <a:lvl9pPr marL="16705722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128">
          <p15:clr>
            <a:srgbClr val="A4A3A4"/>
          </p15:clr>
        </p15:guide>
        <p15:guide id="2" orient="horz" pos="18425">
          <p15:clr>
            <a:srgbClr val="A4A3A4"/>
          </p15:clr>
        </p15:guide>
        <p15:guide id="3" orient="horz" pos="3925">
          <p15:clr>
            <a:srgbClr val="A4A3A4"/>
          </p15:clr>
        </p15:guide>
        <p15:guide id="4" orient="horz" pos="825">
          <p15:clr>
            <a:srgbClr val="A4A3A4"/>
          </p15:clr>
        </p15:guide>
        <p15:guide id="5" pos="13176">
          <p15:clr>
            <a:srgbClr val="A4A3A4"/>
          </p15:clr>
        </p15:guide>
        <p15:guide id="6" pos="956">
          <p15:clr>
            <a:srgbClr val="A4A3A4"/>
          </p15:clr>
        </p15:guide>
        <p15:guide id="7" pos="26033">
          <p15:clr>
            <a:srgbClr val="A4A3A4"/>
          </p15:clr>
        </p15:guide>
        <p15:guide id="8" pos="8926">
          <p15:clr>
            <a:srgbClr val="A4A3A4"/>
          </p15:clr>
        </p15:guide>
        <p15:guide id="9" pos="9456">
          <p15:clr>
            <a:srgbClr val="A4A3A4"/>
          </p15:clr>
        </p15:guide>
        <p15:guide id="10" pos="13705">
          <p15:clr>
            <a:srgbClr val="A4A3A4"/>
          </p15:clr>
        </p15:guide>
        <p15:guide id="11" pos="17533">
          <p15:clr>
            <a:srgbClr val="A4A3A4"/>
          </p15:clr>
        </p15:guide>
        <p15:guide id="12" pos="1806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7E8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849" autoAdjust="0"/>
    <p:restoredTop sz="94674"/>
  </p:normalViewPr>
  <p:slideViewPr>
    <p:cSldViewPr showGuides="1">
      <p:cViewPr>
        <p:scale>
          <a:sx n="54" d="100"/>
          <a:sy n="54" d="100"/>
        </p:scale>
        <p:origin x="-5296" y="-2976"/>
      </p:cViewPr>
      <p:guideLst>
        <p:guide orient="horz" pos="17128"/>
        <p:guide orient="horz" pos="18425"/>
        <p:guide orient="horz" pos="3925"/>
        <p:guide orient="horz" pos="825"/>
        <p:guide pos="13176"/>
        <p:guide pos="956"/>
        <p:guide pos="26033"/>
        <p:guide pos="8926"/>
        <p:guide pos="9456"/>
        <p:guide pos="13705"/>
        <p:guide pos="17533"/>
        <p:guide pos="1806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12C628-5128-4C47-B3B6-6C1B5A4E1082}" type="datetimeFigureOut">
              <a:rPr lang="de-CH" smtClean="0"/>
              <a:t>19.01.19</a:t>
            </a:fld>
            <a:endParaRPr lang="de-CH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148F7C-5A63-4193-9CCF-DA11CBA16E3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2183674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108B81-6F93-4540-A02B-C78B70B7B557}" type="datetimeFigureOut">
              <a:rPr lang="en-US" smtClean="0"/>
              <a:t>1/19/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00125" y="685800"/>
            <a:ext cx="48577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E8B40A-5FE4-46E4-8C01-990DC147B4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05629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1pPr>
    <a:lvl2pPr marL="2088215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2pPr>
    <a:lvl3pPr marL="4176431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3pPr>
    <a:lvl4pPr marL="6264646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4pPr>
    <a:lvl5pPr marL="8352861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5pPr>
    <a:lvl6pPr marL="10441076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6pPr>
    <a:lvl7pPr marL="12529292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7pPr>
    <a:lvl8pPr marL="14617507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8pPr>
    <a:lvl9pPr marL="16705722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598804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6117803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Title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8731709"/>
            <a:ext cx="42845038" cy="13224569"/>
          </a:xfrm>
          <a:custGeom>
            <a:avLst/>
            <a:gdLst/>
            <a:ahLst/>
            <a:cxnLst/>
            <a:rect l="l" t="t" r="r" b="b"/>
            <a:pathLst>
              <a:path w="9144000" h="2998800">
                <a:moveTo>
                  <a:pt x="950400" y="0"/>
                </a:moveTo>
                <a:lnTo>
                  <a:pt x="9144000" y="0"/>
                </a:lnTo>
                <a:lnTo>
                  <a:pt x="9144000" y="2394000"/>
                </a:lnTo>
                <a:lnTo>
                  <a:pt x="6109200" y="2394000"/>
                </a:lnTo>
                <a:lnTo>
                  <a:pt x="6109200" y="2998800"/>
                </a:lnTo>
                <a:lnTo>
                  <a:pt x="0" y="2998800"/>
                </a:lnTo>
                <a:lnTo>
                  <a:pt x="0" y="936000"/>
                </a:lnTo>
                <a:lnTo>
                  <a:pt x="950400" y="936000"/>
                </a:lnTo>
                <a:close/>
              </a:path>
            </a:pathLst>
          </a:custGeom>
        </p:spPr>
        <p:txBody>
          <a:bodyPr anchor="b"/>
          <a:lstStyle>
            <a:lvl1pPr marL="1471904" indent="0">
              <a:buNone/>
              <a:defRPr sz="5500" baseline="0"/>
            </a:lvl1pPr>
          </a:lstStyle>
          <a:p>
            <a:r>
              <a:rPr lang="en-US" dirty="0"/>
              <a:t>Click to add image</a:t>
            </a:r>
            <a:br>
              <a:rPr lang="en-US" dirty="0"/>
            </a:br>
            <a:r>
              <a:rPr lang="en-US" dirty="0"/>
              <a:t>(Rectangular images fit best, do not stretch image to fit)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white">
          <a:xfrm>
            <a:off x="4463025" y="1301818"/>
            <a:ext cx="36847014" cy="7429890"/>
          </a:xfrm>
        </p:spPr>
        <p:txBody>
          <a:bodyPr anchor="t" anchorCtr="0">
            <a:noAutofit/>
          </a:bodyPr>
          <a:lstStyle>
            <a:lvl1pPr marL="0" indent="0">
              <a:lnSpc>
                <a:spcPct val="82000"/>
              </a:lnSpc>
              <a:defRPr sz="18300" b="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redit Suisse Headline font 4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Add title line 2</a:t>
            </a:r>
            <a:br>
              <a:rPr lang="en-US" dirty="0"/>
            </a:br>
            <a:r>
              <a:rPr lang="en-US" dirty="0"/>
              <a:t>Add subtitle</a:t>
            </a:r>
          </a:p>
        </p:txBody>
      </p:sp>
      <p:pic>
        <p:nvPicPr>
          <p:cNvPr id="10" name="Logo_large" descr="AQAAAAAQAM8tiZQyq7JBnY6i2xxAS/7fWQy5iyK2VCY1hCtIJSGjtDh8ZijZKtG9+OfBy0FQZ7sfQErsriyUmMHQRFeyzuiV8qGwl7+p+wuAt4ubg6oz8GtBNuYpwzeSdGQXSnDEhO9AZien7u/3YvThAP6UbX6rnOTkZs2gD9OoCS5mgr2r7t/n4Wx72DGAd0QfWj4r2Wx+ASvxzfngly8tBCKkH9ZrAvs5tW+DLgyYhMw7EiBT4zN7339uDfAD/O5zAXd5ot2n1eEHVGRYsDrcFTma03/HkdGTu0X+OPr2ODFnRlLFbfjtv/59qJKelBTUV5b86AsFwzN1XVbWEKu/9rB9Y93lTYlDUByGuyTdyKP2pQAyxmuz7L8tNa8HK33VLZvmkjrFZf9zm5I88aO2aSgXYTEQ9NHyiP5Pnro80pKI51qM50B/WVTNmJTp/noDixfie9kZ7Hu4541T9F38EuiYgos0/8Hu6/TNh40YOGcAD+I1MAHiMvApERPdmPBsCSubMcYwmiPqMkq5BCTw42bN0UU=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24173" y="25883990"/>
            <a:ext cx="9581095" cy="2132998"/>
          </a:xfrm>
          <a:prstGeom prst="rect">
            <a:avLst/>
          </a:prstGeom>
        </p:spPr>
      </p:pic>
      <p:sp>
        <p:nvSpPr>
          <p:cNvPr id="4" name="Legal Entity Date Classification"/>
          <p:cNvSpPr>
            <a:spLocks noGrp="1"/>
          </p:cNvSpPr>
          <p:nvPr>
            <p:ph type="body" sz="quarter" idx="18" hasCustomPrompt="1"/>
          </p:nvPr>
        </p:nvSpPr>
        <p:spPr>
          <a:xfrm>
            <a:off x="4436317" y="23321599"/>
            <a:ext cx="10812468" cy="4794502"/>
          </a:xfrm>
        </p:spPr>
        <p:txBody>
          <a:bodyPr anchor="b"/>
          <a:lstStyle>
            <a:lvl1pPr marL="0" indent="0">
              <a:buNone/>
              <a:defRPr sz="5500"/>
            </a:lvl1pPr>
          </a:lstStyle>
          <a:p>
            <a:pPr lvl="0"/>
            <a:r>
              <a:rPr lang="en-US" dirty="0"/>
              <a:t>LEGAL ENTITY</a:t>
            </a:r>
            <a:br>
              <a:rPr lang="en-US" dirty="0"/>
            </a:br>
            <a:r>
              <a:rPr lang="en-US" dirty="0"/>
              <a:t>Department or author</a:t>
            </a:r>
            <a:br>
              <a:rPr lang="en-US" dirty="0"/>
            </a:br>
            <a:r>
              <a:rPr lang="en-US" dirty="0"/>
              <a:t>Department or author</a:t>
            </a:r>
            <a:br>
              <a:rPr lang="en-US" dirty="0"/>
            </a:br>
            <a:r>
              <a:rPr lang="en-US" dirty="0"/>
              <a:t>Month Day, Yea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lassification</a:t>
            </a:r>
          </a:p>
        </p:txBody>
      </p:sp>
    </p:spTree>
    <p:extLst>
      <p:ext uri="{BB962C8B-B14F-4D97-AF65-F5344CB8AC3E}">
        <p14:creationId xmlns:p14="http://schemas.microsoft.com/office/powerpoint/2010/main" val="25774030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9121122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11" name="Picture Placeholder 1"/>
          <p:cNvSpPr>
            <a:spLocks noGrp="1"/>
          </p:cNvSpPr>
          <p:nvPr>
            <p:ph type="pic" sz="quarter" idx="16" hasCustomPrompt="1"/>
          </p:nvPr>
        </p:nvSpPr>
        <p:spPr>
          <a:xfrm>
            <a:off x="15010642" y="16129847"/>
            <a:ext cx="27834398" cy="11049580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8674934" y="6230714"/>
            <a:ext cx="12651970" cy="8731708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5010640" y="6230714"/>
            <a:ext cx="12823758" cy="8731708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30716"/>
            <a:ext cx="12652678" cy="20960400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hree Text Columns with Picture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29111974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e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5286488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10778732" y="10525678"/>
            <a:ext cx="32066306" cy="15542441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Section Divider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35454317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lumns with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6169279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9" name="Infographic Background"/>
          <p:cNvSpPr/>
          <p:nvPr userDrawn="1"/>
        </p:nvSpPr>
        <p:spPr>
          <a:xfrm>
            <a:off x="15010642" y="6223329"/>
            <a:ext cx="27868134" cy="12860417"/>
          </a:xfrm>
          <a:prstGeom prst="rect">
            <a:avLst/>
          </a:prstGeom>
          <a:solidFill>
            <a:srgbClr val="E7E8E9"/>
          </a:solidFill>
        </p:spPr>
        <p:txBody>
          <a:bodyPr rot="0" spcFirstLastPara="0" vertOverflow="overflow" horzOverflow="overflow" vert="horz" wrap="square" lIns="164449" tIns="164449" rIns="164449" bIns="16444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25379" indent="-1225379" algn="ctr">
              <a:spcBef>
                <a:spcPts val="0"/>
              </a:spcBef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6400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5010642" y="20416322"/>
            <a:ext cx="26316267" cy="6763105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23329"/>
            <a:ext cx="12652678" cy="20960400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wo Text Columns with Infographic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39049222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ext Column with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7151150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15" name="Graph Source 1"/>
          <p:cNvSpPr>
            <a:spLocks noGrp="1"/>
          </p:cNvSpPr>
          <p:nvPr>
            <p:ph type="body" sz="quarter" idx="17" hasCustomPrompt="1"/>
          </p:nvPr>
        </p:nvSpPr>
        <p:spPr>
          <a:xfrm>
            <a:off x="21757248" y="25544216"/>
            <a:ext cx="19570361" cy="1646897"/>
          </a:xfrm>
        </p:spPr>
        <p:txBody>
          <a:bodyPr anchor="b"/>
          <a:lstStyle>
            <a:lvl1pPr marL="0" indent="0">
              <a:buNone/>
              <a:defRPr sz="3700"/>
            </a:lvl1pPr>
          </a:lstStyle>
          <a:p>
            <a:pPr lvl="0"/>
            <a:r>
              <a:rPr lang="en-US" dirty="0"/>
              <a:t>Source/Note</a:t>
            </a:r>
          </a:p>
        </p:txBody>
      </p:sp>
      <p:sp>
        <p:nvSpPr>
          <p:cNvPr id="9" name="Graph Placeholder 1"/>
          <p:cNvSpPr>
            <a:spLocks noGrp="1"/>
          </p:cNvSpPr>
          <p:nvPr>
            <p:ph type="chart" sz="quarter" idx="14"/>
          </p:nvPr>
        </p:nvSpPr>
        <p:spPr>
          <a:xfrm>
            <a:off x="21757248" y="9001597"/>
            <a:ext cx="19570361" cy="16542619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3" name="Graph Description 1"/>
          <p:cNvSpPr>
            <a:spLocks noGrp="1"/>
          </p:cNvSpPr>
          <p:nvPr>
            <p:ph type="body" sz="quarter" idx="16" hasCustomPrompt="1"/>
          </p:nvPr>
        </p:nvSpPr>
        <p:spPr>
          <a:xfrm>
            <a:off x="21757248" y="7048870"/>
            <a:ext cx="19570361" cy="1952728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pPr lvl="0"/>
            <a:r>
              <a:rPr lang="en-US" dirty="0"/>
              <a:t>Chart description</a:t>
            </a:r>
          </a:p>
        </p:txBody>
      </p:sp>
      <p:sp>
        <p:nvSpPr>
          <p:cNvPr id="11" name="Graph Title 1"/>
          <p:cNvSpPr>
            <a:spLocks noGrp="1"/>
          </p:cNvSpPr>
          <p:nvPr>
            <p:ph type="body" sz="quarter" idx="15" hasCustomPrompt="1"/>
          </p:nvPr>
        </p:nvSpPr>
        <p:spPr>
          <a:xfrm>
            <a:off x="21757248" y="6223327"/>
            <a:ext cx="19570361" cy="809668"/>
          </a:xfrm>
        </p:spPr>
        <p:txBody>
          <a:bodyPr/>
          <a:lstStyle>
            <a:lvl1pPr marL="0" indent="0">
              <a:buNone/>
              <a:defRPr sz="5500" b="1"/>
            </a:lvl1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23329"/>
            <a:ext cx="19415446" cy="20960400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hart with One Text Column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33497436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6846987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11" name="Graph Source 1"/>
          <p:cNvSpPr>
            <a:spLocks noGrp="1"/>
          </p:cNvSpPr>
          <p:nvPr>
            <p:ph type="body" sz="quarter" idx="16" hasCustomPrompt="1"/>
          </p:nvPr>
        </p:nvSpPr>
        <p:spPr>
          <a:xfrm>
            <a:off x="1501263" y="25528340"/>
            <a:ext cx="39810181" cy="1666963"/>
          </a:xfrm>
        </p:spPr>
        <p:txBody>
          <a:bodyPr anchor="b"/>
          <a:lstStyle>
            <a:lvl1pPr marL="0" indent="0">
              <a:buNone/>
              <a:defRPr sz="3700" b="0"/>
            </a:lvl1pPr>
          </a:lstStyle>
          <a:p>
            <a:pPr lvl="0"/>
            <a:r>
              <a:rPr lang="en-US" dirty="0"/>
              <a:t>Source/Note</a:t>
            </a:r>
          </a:p>
        </p:txBody>
      </p:sp>
      <p:sp>
        <p:nvSpPr>
          <p:cNvPr id="10" name="Graph Placeholder 1"/>
          <p:cNvSpPr>
            <a:spLocks noGrp="1"/>
          </p:cNvSpPr>
          <p:nvPr>
            <p:ph type="chart" sz="quarter" idx="15"/>
          </p:nvPr>
        </p:nvSpPr>
        <p:spPr>
          <a:xfrm>
            <a:off x="1501263" y="9001598"/>
            <a:ext cx="39810181" cy="16510867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8" name="Graph Description 1"/>
          <p:cNvSpPr>
            <a:spLocks noGrp="1"/>
          </p:cNvSpPr>
          <p:nvPr>
            <p:ph type="body" sz="quarter" idx="14" hasCustomPrompt="1"/>
          </p:nvPr>
        </p:nvSpPr>
        <p:spPr>
          <a:xfrm>
            <a:off x="1501263" y="7048870"/>
            <a:ext cx="39810181" cy="1952728"/>
          </a:xfrm>
        </p:spPr>
        <p:txBody>
          <a:bodyPr/>
          <a:lstStyle>
            <a:lvl1pPr marL="0" indent="0">
              <a:buNone/>
              <a:defRPr sz="5500" b="0"/>
            </a:lvl1pPr>
          </a:lstStyle>
          <a:p>
            <a:pPr lvl="0"/>
            <a:r>
              <a:rPr lang="en-US" dirty="0"/>
              <a:t>Chart description</a:t>
            </a:r>
          </a:p>
        </p:txBody>
      </p:sp>
      <p:sp>
        <p:nvSpPr>
          <p:cNvPr id="7" name="Graph Title 1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30713"/>
            <a:ext cx="39810181" cy="809668"/>
          </a:xfrm>
        </p:spPr>
        <p:txBody>
          <a:bodyPr/>
          <a:lstStyle>
            <a:lvl1pPr marL="0" indent="0">
              <a:buNone/>
              <a:defRPr sz="5500" b="1"/>
            </a:lvl1pPr>
          </a:lstStyle>
          <a:p>
            <a:pPr lvl="0"/>
            <a:r>
              <a:rPr lang="en-US" dirty="0"/>
              <a:t>Chart Title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hart Only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25160715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684308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6" name="Infographic Background"/>
          <p:cNvSpPr/>
          <p:nvPr userDrawn="1"/>
        </p:nvSpPr>
        <p:spPr>
          <a:xfrm>
            <a:off x="1517428" y="6230716"/>
            <a:ext cx="41326907" cy="20960400"/>
          </a:xfrm>
          <a:prstGeom prst="rect">
            <a:avLst/>
          </a:prstGeom>
          <a:solidFill>
            <a:srgbClr val="E7E8E9"/>
          </a:solidFill>
        </p:spPr>
        <p:txBody>
          <a:bodyPr rot="0" spcFirstLastPara="0" vertOverflow="overflow" horzOverflow="overflow" vert="horz" wrap="square" lIns="164449" tIns="164449" rIns="164449" bIns="16444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25379" indent="-1225379" algn="ctr">
              <a:spcBef>
                <a:spcPts val="0"/>
              </a:spcBef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64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fographic Only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40778272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nt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141048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6" name="Print Screen Background"/>
          <p:cNvSpPr/>
          <p:nvPr userDrawn="1"/>
        </p:nvSpPr>
        <p:spPr>
          <a:xfrm>
            <a:off x="1517428" y="6230716"/>
            <a:ext cx="41327610" cy="20960400"/>
          </a:xfrm>
          <a:prstGeom prst="rect">
            <a:avLst/>
          </a:prstGeom>
          <a:solidFill>
            <a:srgbClr val="E7E8E9"/>
          </a:solidFill>
        </p:spPr>
        <p:txBody>
          <a:bodyPr rot="0" spcFirstLastPara="0" vertOverflow="overflow" horzOverflow="overflow" vert="horz" wrap="square" lIns="164449" tIns="164449" rIns="164449" bIns="16444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25379" indent="-1225379" algn="ctr">
              <a:spcBef>
                <a:spcPts val="0"/>
              </a:spcBef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6400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15002011" y="6747229"/>
            <a:ext cx="26316970" cy="16574370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 dirty="0"/>
              <a:t>Insert print screen from fi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17428" y="6230716"/>
            <a:ext cx="12652678" cy="20960400"/>
          </a:xfrm>
        </p:spPr>
        <p:txBody>
          <a:bodyPr lIns="493279" tIns="493279" bIns="493279"/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Print Screen with Description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21591971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3935731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/>
          <p:cNvSpPr>
            <a:spLocks noGrp="1"/>
          </p:cNvSpPr>
          <p:nvPr>
            <p:ph type="sldNum" sz="quarter" idx="4"/>
          </p:nvPr>
        </p:nvSpPr>
        <p:spPr>
          <a:xfrm>
            <a:off x="39623226" y="28814638"/>
            <a:ext cx="1686813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700">
                <a:solidFill>
                  <a:schemeClr val="tx1"/>
                </a:solidFill>
              </a:defRPr>
            </a:lvl1pPr>
          </a:lstStyle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Date"/>
          <p:cNvSpPr>
            <a:spLocks noGrp="1"/>
          </p:cNvSpPr>
          <p:nvPr>
            <p:ph type="dt" sz="half" idx="2"/>
          </p:nvPr>
        </p:nvSpPr>
        <p:spPr>
          <a:xfrm>
            <a:off x="33719382" y="28814638"/>
            <a:ext cx="5229119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4" name="Footer"/>
          <p:cNvSpPr>
            <a:spLocks noGrp="1"/>
          </p:cNvSpPr>
          <p:nvPr>
            <p:ph type="ftr" sz="quarter" idx="3"/>
          </p:nvPr>
        </p:nvSpPr>
        <p:spPr>
          <a:xfrm>
            <a:off x="7270162" y="28814638"/>
            <a:ext cx="25116638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8" name="Text Placeholder Contact 2"/>
          <p:cNvSpPr>
            <a:spLocks noGrp="1"/>
          </p:cNvSpPr>
          <p:nvPr>
            <p:ph type="body" sz="quarter" idx="11" hasCustomPrompt="1"/>
          </p:nvPr>
        </p:nvSpPr>
        <p:spPr>
          <a:xfrm>
            <a:off x="28674934" y="20225812"/>
            <a:ext cx="12651970" cy="5699424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pPr lvl="0"/>
            <a:r>
              <a:rPr lang="en-US" dirty="0"/>
              <a:t>Author</a:t>
            </a:r>
            <a:br>
              <a:rPr lang="en-US" dirty="0"/>
            </a:br>
            <a:r>
              <a:rPr lang="en-US" dirty="0"/>
              <a:t>CREDIT SUISSE LEGAL ENTITY</a:t>
            </a:r>
            <a:br>
              <a:rPr lang="en-US" dirty="0"/>
            </a:br>
            <a:r>
              <a:rPr lang="en-US" dirty="0"/>
              <a:t>Department, Code</a:t>
            </a:r>
            <a:br>
              <a:rPr lang="en-US" dirty="0"/>
            </a:br>
            <a:r>
              <a:rPr lang="en-US" dirty="0"/>
              <a:t>Street 00 | 0000 Town | Country </a:t>
            </a:r>
            <a:br>
              <a:rPr lang="en-US" dirty="0"/>
            </a:br>
            <a:r>
              <a:rPr lang="en-US" dirty="0"/>
              <a:t>Phone +00 00 000 00 00</a:t>
            </a:r>
            <a:br>
              <a:rPr lang="en-US" dirty="0"/>
            </a:br>
            <a:r>
              <a:rPr lang="en-US" dirty="0"/>
              <a:t>lorem.ipsum@credit-suisse.com         credit-suisse.com</a:t>
            </a:r>
          </a:p>
        </p:txBody>
      </p:sp>
      <p:sp>
        <p:nvSpPr>
          <p:cNvPr id="7" name="Text Placeholder Contact 1"/>
          <p:cNvSpPr>
            <a:spLocks noGrp="1"/>
          </p:cNvSpPr>
          <p:nvPr>
            <p:ph type="body" sz="quarter" idx="10" hasCustomPrompt="1"/>
          </p:nvPr>
        </p:nvSpPr>
        <p:spPr>
          <a:xfrm>
            <a:off x="15010640" y="20225812"/>
            <a:ext cx="12823758" cy="5699424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pPr lvl="0"/>
            <a:r>
              <a:rPr lang="en-US" dirty="0"/>
              <a:t>Author</a:t>
            </a:r>
            <a:br>
              <a:rPr lang="en-US" dirty="0"/>
            </a:br>
            <a:r>
              <a:rPr lang="en-US" dirty="0"/>
              <a:t>CREDIT SUISSE LEGAL ENTITY</a:t>
            </a:r>
            <a:br>
              <a:rPr lang="en-US" dirty="0"/>
            </a:br>
            <a:r>
              <a:rPr lang="en-US" dirty="0"/>
              <a:t>Department, Code</a:t>
            </a:r>
            <a:br>
              <a:rPr lang="en-US" dirty="0"/>
            </a:br>
            <a:r>
              <a:rPr lang="en-US" dirty="0"/>
              <a:t>Street 00 | 0000 Town | Country </a:t>
            </a:r>
            <a:br>
              <a:rPr lang="en-US" dirty="0"/>
            </a:br>
            <a:r>
              <a:rPr lang="en-US" dirty="0"/>
              <a:t>Phone +00 00 000 00 00</a:t>
            </a:r>
            <a:br>
              <a:rPr lang="en-US" dirty="0"/>
            </a:br>
            <a:r>
              <a:rPr lang="en-US" dirty="0"/>
              <a:t>lorem.ipsum@credit-suisse.com         credit-suisse.co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ontact Slide 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33265595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/>
          <p:cNvSpPr>
            <a:spLocks noGrp="1"/>
          </p:cNvSpPr>
          <p:nvPr>
            <p:ph type="sldNum" sz="quarter" idx="4"/>
          </p:nvPr>
        </p:nvSpPr>
        <p:spPr>
          <a:xfrm>
            <a:off x="39623226" y="28814638"/>
            <a:ext cx="1686813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700">
                <a:solidFill>
                  <a:schemeClr val="tx1"/>
                </a:solidFill>
              </a:defRPr>
            </a:lvl1pPr>
          </a:lstStyle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Date"/>
          <p:cNvSpPr>
            <a:spLocks noGrp="1"/>
          </p:cNvSpPr>
          <p:nvPr>
            <p:ph type="dt" sz="half" idx="2"/>
          </p:nvPr>
        </p:nvSpPr>
        <p:spPr>
          <a:xfrm>
            <a:off x="33719382" y="28814638"/>
            <a:ext cx="5229119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3" name="Footer"/>
          <p:cNvSpPr>
            <a:spLocks noGrp="1"/>
          </p:cNvSpPr>
          <p:nvPr>
            <p:ph type="ftr" sz="quarter" idx="3"/>
          </p:nvPr>
        </p:nvSpPr>
        <p:spPr>
          <a:xfrm>
            <a:off x="7270162" y="28814638"/>
            <a:ext cx="25116638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1441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ext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0508482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>
          <a:xfrm>
            <a:off x="39623226" y="28814638"/>
            <a:ext cx="1686813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700">
                <a:solidFill>
                  <a:schemeClr val="tx1"/>
                </a:solidFill>
              </a:defRPr>
            </a:lvl1pPr>
          </a:lstStyle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33719382" y="28814638"/>
            <a:ext cx="5229119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3"/>
          </p:nvPr>
        </p:nvSpPr>
        <p:spPr>
          <a:xfrm>
            <a:off x="7270162" y="28814638"/>
            <a:ext cx="25116638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501263" y="6230716"/>
            <a:ext cx="39810181" cy="20960400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One Text Column without Picture 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28660990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7" name="Media Placeholder 1"/>
          <p:cNvSpPr>
            <a:spLocks noGrp="1"/>
          </p:cNvSpPr>
          <p:nvPr>
            <p:ph type="media" sz="quarter" idx="13" hasCustomPrompt="1"/>
          </p:nvPr>
        </p:nvSpPr>
        <p:spPr>
          <a:xfrm>
            <a:off x="1501263" y="6230716"/>
            <a:ext cx="39810181" cy="20960400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 dirty="0"/>
              <a:t>Click icon to add media clip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Media Clip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23220613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7215232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26" name="Agenda Text 10"/>
          <p:cNvSpPr>
            <a:spLocks noGrp="1"/>
          </p:cNvSpPr>
          <p:nvPr>
            <p:ph type="body" sz="quarter" idx="32" hasCustomPrompt="1"/>
          </p:nvPr>
        </p:nvSpPr>
        <p:spPr>
          <a:xfrm>
            <a:off x="24661199" y="20686211"/>
            <a:ext cx="1666570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5" name="Agenda Number 10"/>
          <p:cNvSpPr>
            <a:spLocks noGrp="1"/>
          </p:cNvSpPr>
          <p:nvPr>
            <p:ph type="body" sz="quarter" idx="31" hasCustomPrompt="1"/>
          </p:nvPr>
        </p:nvSpPr>
        <p:spPr>
          <a:xfrm>
            <a:off x="21759882" y="20686211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2" name="Agenda Text 9"/>
          <p:cNvSpPr>
            <a:spLocks noGrp="1"/>
          </p:cNvSpPr>
          <p:nvPr>
            <p:ph type="body" sz="quarter" idx="28" hasCustomPrompt="1"/>
          </p:nvPr>
        </p:nvSpPr>
        <p:spPr>
          <a:xfrm>
            <a:off x="24661199" y="17066521"/>
            <a:ext cx="1666570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1" name="Agenda Number 9"/>
          <p:cNvSpPr>
            <a:spLocks noGrp="1"/>
          </p:cNvSpPr>
          <p:nvPr>
            <p:ph type="body" sz="quarter" idx="27" hasCustomPrompt="1"/>
          </p:nvPr>
        </p:nvSpPr>
        <p:spPr>
          <a:xfrm>
            <a:off x="21759882" y="17066521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8" name="Agenda Text 8"/>
          <p:cNvSpPr>
            <a:spLocks noGrp="1"/>
          </p:cNvSpPr>
          <p:nvPr>
            <p:ph type="body" sz="quarter" idx="24" hasCustomPrompt="1"/>
          </p:nvPr>
        </p:nvSpPr>
        <p:spPr>
          <a:xfrm>
            <a:off x="24661199" y="13462707"/>
            <a:ext cx="1666570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7" name="Agenda Number 8"/>
          <p:cNvSpPr>
            <a:spLocks noGrp="1"/>
          </p:cNvSpPr>
          <p:nvPr>
            <p:ph type="body" sz="quarter" idx="23" hasCustomPrompt="1"/>
          </p:nvPr>
        </p:nvSpPr>
        <p:spPr>
          <a:xfrm>
            <a:off x="21759882" y="13446831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4" name="Agenda Text 7"/>
          <p:cNvSpPr>
            <a:spLocks noGrp="1"/>
          </p:cNvSpPr>
          <p:nvPr>
            <p:ph type="body" sz="quarter" idx="20" hasCustomPrompt="1"/>
          </p:nvPr>
        </p:nvSpPr>
        <p:spPr>
          <a:xfrm>
            <a:off x="24661199" y="9843017"/>
            <a:ext cx="16665708" cy="1968603"/>
          </a:xfrm>
        </p:spPr>
        <p:txBody>
          <a:bodyPr tIns="0"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3" name="Agenda Numb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1759882" y="9843017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0" name="Agenda Text 6"/>
          <p:cNvSpPr>
            <a:spLocks noGrp="1"/>
          </p:cNvSpPr>
          <p:nvPr>
            <p:ph type="body" sz="quarter" idx="16" hasCustomPrompt="1"/>
          </p:nvPr>
        </p:nvSpPr>
        <p:spPr>
          <a:xfrm>
            <a:off x="24661199" y="6223327"/>
            <a:ext cx="1666570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9" name="Agenda Number 6"/>
          <p:cNvSpPr>
            <a:spLocks noGrp="1"/>
          </p:cNvSpPr>
          <p:nvPr>
            <p:ph type="body" sz="quarter" idx="15" hasCustomPrompt="1"/>
          </p:nvPr>
        </p:nvSpPr>
        <p:spPr>
          <a:xfrm>
            <a:off x="21759882" y="6223327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4" name="Agenda Text 5"/>
          <p:cNvSpPr>
            <a:spLocks noGrp="1"/>
          </p:cNvSpPr>
          <p:nvPr>
            <p:ph type="body" sz="quarter" idx="30" hasCustomPrompt="1"/>
          </p:nvPr>
        </p:nvSpPr>
        <p:spPr>
          <a:xfrm>
            <a:off x="4486921" y="20686211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Agenda Number 5"/>
          <p:cNvSpPr>
            <a:spLocks noGrp="1"/>
          </p:cNvSpPr>
          <p:nvPr>
            <p:ph type="body" sz="quarter" idx="29" hasCustomPrompt="1"/>
          </p:nvPr>
        </p:nvSpPr>
        <p:spPr>
          <a:xfrm>
            <a:off x="1501263" y="20686211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0" name="Agenda Text 4"/>
          <p:cNvSpPr>
            <a:spLocks noGrp="1"/>
          </p:cNvSpPr>
          <p:nvPr>
            <p:ph type="body" sz="quarter" idx="26" hasCustomPrompt="1"/>
          </p:nvPr>
        </p:nvSpPr>
        <p:spPr>
          <a:xfrm>
            <a:off x="4486921" y="17066521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Agenda Number 4"/>
          <p:cNvSpPr>
            <a:spLocks noGrp="1"/>
          </p:cNvSpPr>
          <p:nvPr>
            <p:ph type="body" sz="quarter" idx="25" hasCustomPrompt="1"/>
          </p:nvPr>
        </p:nvSpPr>
        <p:spPr>
          <a:xfrm>
            <a:off x="1501263" y="17066521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6" name="Agenda Text 3"/>
          <p:cNvSpPr>
            <a:spLocks noGrp="1"/>
          </p:cNvSpPr>
          <p:nvPr>
            <p:ph type="body" sz="quarter" idx="22" hasCustomPrompt="1"/>
          </p:nvPr>
        </p:nvSpPr>
        <p:spPr>
          <a:xfrm>
            <a:off x="4486921" y="13462707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5" name="Agenda Numb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501263" y="13446831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2" name="Agenda Text 2"/>
          <p:cNvSpPr>
            <a:spLocks noGrp="1"/>
          </p:cNvSpPr>
          <p:nvPr>
            <p:ph type="body" sz="quarter" idx="18" hasCustomPrompt="1"/>
          </p:nvPr>
        </p:nvSpPr>
        <p:spPr>
          <a:xfrm>
            <a:off x="4486921" y="9843017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 </a:t>
            </a:r>
          </a:p>
        </p:txBody>
      </p:sp>
      <p:sp>
        <p:nvSpPr>
          <p:cNvPr id="11" name="Agenda Number 2"/>
          <p:cNvSpPr>
            <a:spLocks noGrp="1"/>
          </p:cNvSpPr>
          <p:nvPr>
            <p:ph type="body" sz="quarter" idx="17" hasCustomPrompt="1"/>
          </p:nvPr>
        </p:nvSpPr>
        <p:spPr>
          <a:xfrm>
            <a:off x="1501263" y="9843017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8" name="Agenda Text 1"/>
          <p:cNvSpPr>
            <a:spLocks noGrp="1"/>
          </p:cNvSpPr>
          <p:nvPr>
            <p:ph type="body" sz="quarter" idx="14" hasCustomPrompt="1"/>
          </p:nvPr>
        </p:nvSpPr>
        <p:spPr>
          <a:xfrm>
            <a:off x="4486921" y="6223327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7" name="Agenda Number 1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30713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genda Layout Option 1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41943259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750017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35" name="Agenda Description 6"/>
          <p:cNvSpPr>
            <a:spLocks noGrp="1"/>
          </p:cNvSpPr>
          <p:nvPr>
            <p:ph type="body" sz="quarter" idx="36" hasCustomPrompt="1"/>
          </p:nvPr>
        </p:nvSpPr>
        <p:spPr>
          <a:xfrm>
            <a:off x="24661199" y="20848167"/>
            <a:ext cx="16648840" cy="2651264"/>
          </a:xfrm>
        </p:spPr>
        <p:txBody>
          <a:bodyPr/>
          <a:lstStyle>
            <a:lvl1pPr marL="822132" indent="-822132">
              <a:defRPr sz="5500"/>
            </a:lvl1pPr>
            <a:lvl2pPr marL="1644264" indent="-822132">
              <a:defRPr sz="5500"/>
            </a:lvl2pPr>
            <a:lvl3pPr marL="2466396" indent="-822132">
              <a:buClrTx/>
              <a:buFont typeface="Wingdings" panose="05000000000000000000" pitchFamily="2" charset="2"/>
              <a:buChar char="§"/>
              <a:defRPr sz="5500"/>
            </a:lvl3pPr>
            <a:lvl4pPr marL="3288528" indent="-822132">
              <a:defRPr sz="5500"/>
            </a:lvl4pPr>
            <a:lvl5pPr>
              <a:defRPr sz="5500"/>
            </a:lvl5pPr>
          </a:lstStyle>
          <a:p>
            <a:pPr lvl="0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Agenda Text 6"/>
          <p:cNvSpPr>
            <a:spLocks noGrp="1"/>
          </p:cNvSpPr>
          <p:nvPr>
            <p:ph type="body" sz="quarter" idx="26" hasCustomPrompt="1"/>
          </p:nvPr>
        </p:nvSpPr>
        <p:spPr>
          <a:xfrm>
            <a:off x="24661199" y="18876366"/>
            <a:ext cx="16648840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 size 1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1" name="Agenda Number 6"/>
          <p:cNvSpPr>
            <a:spLocks noGrp="1"/>
          </p:cNvSpPr>
          <p:nvPr>
            <p:ph type="body" sz="quarter" idx="27" hasCustomPrompt="1"/>
          </p:nvPr>
        </p:nvSpPr>
        <p:spPr>
          <a:xfrm>
            <a:off x="21759882" y="18860490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4" name="Agenda Description 5"/>
          <p:cNvSpPr>
            <a:spLocks noGrp="1"/>
          </p:cNvSpPr>
          <p:nvPr>
            <p:ph type="body" sz="quarter" idx="35" hasCustomPrompt="1"/>
          </p:nvPr>
        </p:nvSpPr>
        <p:spPr>
          <a:xfrm>
            <a:off x="24661199" y="14468512"/>
            <a:ext cx="16648840" cy="2651264"/>
          </a:xfrm>
        </p:spPr>
        <p:txBody>
          <a:bodyPr/>
          <a:lstStyle>
            <a:lvl1pPr marL="822132" indent="-822132">
              <a:defRPr sz="5500"/>
            </a:lvl1pPr>
            <a:lvl2pPr marL="1644264" indent="-822132">
              <a:defRPr sz="5500"/>
            </a:lvl2pPr>
            <a:lvl3pPr marL="2466396" indent="-822132">
              <a:buClrTx/>
              <a:buFont typeface="Wingdings" panose="05000000000000000000" pitchFamily="2" charset="2"/>
              <a:buChar char="§"/>
              <a:defRPr sz="5500"/>
            </a:lvl3pPr>
            <a:lvl4pPr marL="3288528" indent="-822132">
              <a:defRPr sz="5500"/>
            </a:lvl4pPr>
            <a:lvl5pPr>
              <a:defRPr sz="5500"/>
            </a:lvl5pPr>
          </a:lstStyle>
          <a:p>
            <a:pPr lvl="0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Agenda Text 5"/>
          <p:cNvSpPr>
            <a:spLocks noGrp="1"/>
          </p:cNvSpPr>
          <p:nvPr>
            <p:ph type="body" sz="quarter" idx="20" hasCustomPrompt="1"/>
          </p:nvPr>
        </p:nvSpPr>
        <p:spPr>
          <a:xfrm>
            <a:off x="24661199" y="12494281"/>
            <a:ext cx="16648840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 size 1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Agenda Number 5"/>
          <p:cNvSpPr>
            <a:spLocks noGrp="1"/>
          </p:cNvSpPr>
          <p:nvPr>
            <p:ph type="body" sz="quarter" idx="21" hasCustomPrompt="1"/>
          </p:nvPr>
        </p:nvSpPr>
        <p:spPr>
          <a:xfrm>
            <a:off x="21759882" y="12478405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3" name="Agenda Description 4"/>
          <p:cNvSpPr>
            <a:spLocks noGrp="1"/>
          </p:cNvSpPr>
          <p:nvPr>
            <p:ph type="body" sz="quarter" idx="34" hasCustomPrompt="1"/>
          </p:nvPr>
        </p:nvSpPr>
        <p:spPr>
          <a:xfrm>
            <a:off x="24661199" y="8197557"/>
            <a:ext cx="16648840" cy="2651264"/>
          </a:xfrm>
        </p:spPr>
        <p:txBody>
          <a:bodyPr/>
          <a:lstStyle>
            <a:lvl1pPr marL="822132" indent="-822132">
              <a:defRPr sz="5500"/>
            </a:lvl1pPr>
            <a:lvl2pPr marL="1644264" indent="-822132">
              <a:defRPr sz="5500"/>
            </a:lvl2pPr>
            <a:lvl3pPr marL="2466396" indent="-822132">
              <a:buClrTx/>
              <a:buFont typeface="Wingdings" panose="05000000000000000000" pitchFamily="2" charset="2"/>
              <a:buChar char="§"/>
              <a:defRPr sz="5500"/>
            </a:lvl3pPr>
            <a:lvl4pPr marL="3288528" indent="-822132">
              <a:defRPr sz="5500"/>
            </a:lvl4pPr>
            <a:lvl5pPr>
              <a:defRPr sz="5500"/>
            </a:lvl5pPr>
          </a:lstStyle>
          <a:p>
            <a:pPr lvl="0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Agenda Text 4"/>
          <p:cNvSpPr>
            <a:spLocks noGrp="1"/>
          </p:cNvSpPr>
          <p:nvPr>
            <p:ph type="body" sz="quarter" idx="16" hasCustomPrompt="1"/>
          </p:nvPr>
        </p:nvSpPr>
        <p:spPr>
          <a:xfrm>
            <a:off x="24661199" y="6223327"/>
            <a:ext cx="16648840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 size 1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Agenda Numb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1759882" y="6223327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2" name="Agenda Description 3"/>
          <p:cNvSpPr>
            <a:spLocks noGrp="1"/>
          </p:cNvSpPr>
          <p:nvPr>
            <p:ph type="body" sz="quarter" idx="33" hasCustomPrompt="1"/>
          </p:nvPr>
        </p:nvSpPr>
        <p:spPr>
          <a:xfrm>
            <a:off x="4486921" y="20848167"/>
            <a:ext cx="16429788" cy="2651264"/>
          </a:xfrm>
        </p:spPr>
        <p:txBody>
          <a:bodyPr/>
          <a:lstStyle>
            <a:lvl1pPr marL="822132" indent="-822132">
              <a:defRPr sz="5500"/>
            </a:lvl1pPr>
            <a:lvl2pPr marL="1644264" indent="-822132">
              <a:defRPr sz="5500"/>
            </a:lvl2pPr>
            <a:lvl3pPr marL="2466396" indent="-822132">
              <a:buClrTx/>
              <a:buFont typeface="Wingdings" panose="05000000000000000000" pitchFamily="2" charset="2"/>
              <a:buChar char="§"/>
              <a:defRPr sz="5500"/>
            </a:lvl3pPr>
            <a:lvl4pPr marL="3288528" indent="-822132">
              <a:defRPr sz="5500"/>
            </a:lvl4pPr>
            <a:lvl5pPr>
              <a:defRPr sz="5500"/>
            </a:lvl5pPr>
          </a:lstStyle>
          <a:p>
            <a:pPr lvl="0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Agenda Text 3"/>
          <p:cNvSpPr>
            <a:spLocks noGrp="1"/>
          </p:cNvSpPr>
          <p:nvPr>
            <p:ph type="body" sz="quarter" idx="28" hasCustomPrompt="1"/>
          </p:nvPr>
        </p:nvSpPr>
        <p:spPr>
          <a:xfrm>
            <a:off x="4486921" y="18876366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 size 1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3" name="Agenda Numb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501263" y="18860490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1" name="Agenda Description 2"/>
          <p:cNvSpPr>
            <a:spLocks noGrp="1"/>
          </p:cNvSpPr>
          <p:nvPr>
            <p:ph type="body" sz="quarter" idx="32" hasCustomPrompt="1"/>
          </p:nvPr>
        </p:nvSpPr>
        <p:spPr>
          <a:xfrm>
            <a:off x="4486921" y="14468512"/>
            <a:ext cx="16429788" cy="2651264"/>
          </a:xfrm>
        </p:spPr>
        <p:txBody>
          <a:bodyPr/>
          <a:lstStyle>
            <a:lvl1pPr marL="822132" indent="-822132">
              <a:defRPr sz="5500"/>
            </a:lvl1pPr>
            <a:lvl2pPr marL="1644264" indent="-822132">
              <a:defRPr sz="5500"/>
            </a:lvl2pPr>
            <a:lvl3pPr marL="2466396" indent="-822132">
              <a:buClrTx/>
              <a:buFont typeface="Wingdings" panose="05000000000000000000" pitchFamily="2" charset="2"/>
              <a:buChar char="§"/>
              <a:defRPr sz="5500"/>
            </a:lvl3pPr>
            <a:lvl4pPr marL="3288528" indent="-822132">
              <a:defRPr sz="5500"/>
            </a:lvl4pPr>
            <a:lvl5pPr>
              <a:defRPr sz="5500"/>
            </a:lvl5pPr>
          </a:lstStyle>
          <a:p>
            <a:pPr lvl="0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6" name="Agenda Text 2"/>
          <p:cNvSpPr>
            <a:spLocks noGrp="1"/>
          </p:cNvSpPr>
          <p:nvPr>
            <p:ph type="body" sz="quarter" idx="22" hasCustomPrompt="1"/>
          </p:nvPr>
        </p:nvSpPr>
        <p:spPr>
          <a:xfrm>
            <a:off x="4486921" y="12494281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 size 1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7" name="Agenda Number 2"/>
          <p:cNvSpPr>
            <a:spLocks noGrp="1"/>
          </p:cNvSpPr>
          <p:nvPr>
            <p:ph type="body" sz="quarter" idx="23" hasCustomPrompt="1"/>
          </p:nvPr>
        </p:nvSpPr>
        <p:spPr>
          <a:xfrm>
            <a:off x="1501263" y="12478405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0" name="Agenda Description 1"/>
          <p:cNvSpPr>
            <a:spLocks noGrp="1"/>
          </p:cNvSpPr>
          <p:nvPr>
            <p:ph type="body" sz="quarter" idx="31" hasCustomPrompt="1"/>
          </p:nvPr>
        </p:nvSpPr>
        <p:spPr>
          <a:xfrm>
            <a:off x="4486921" y="8197557"/>
            <a:ext cx="16429788" cy="2651264"/>
          </a:xfrm>
        </p:spPr>
        <p:txBody>
          <a:bodyPr/>
          <a:lstStyle>
            <a:lvl1pPr marL="822132" indent="-822132">
              <a:defRPr sz="5500"/>
            </a:lvl1pPr>
            <a:lvl2pPr marL="1644264" indent="-822132">
              <a:defRPr sz="5500"/>
            </a:lvl2pPr>
            <a:lvl3pPr marL="2466396" indent="-822132">
              <a:buClrTx/>
              <a:buFont typeface="Wingdings" panose="05000000000000000000" pitchFamily="2" charset="2"/>
              <a:buChar char="§"/>
              <a:defRPr sz="5500"/>
            </a:lvl3pPr>
            <a:lvl4pPr marL="3288528" indent="-822132">
              <a:defRPr sz="5500"/>
            </a:lvl4pPr>
            <a:lvl5pPr>
              <a:defRPr sz="5500"/>
            </a:lvl5pPr>
          </a:lstStyle>
          <a:p>
            <a:pPr lvl="0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Agenda Text 1"/>
          <p:cNvSpPr>
            <a:spLocks noGrp="1"/>
          </p:cNvSpPr>
          <p:nvPr>
            <p:ph type="body" sz="quarter" idx="14" hasCustomPrompt="1"/>
          </p:nvPr>
        </p:nvSpPr>
        <p:spPr>
          <a:xfrm>
            <a:off x="4486921" y="6223327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 size 1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9" name="Agenda Number 1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30713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genda Layout Option 2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748003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1575135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7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6230709"/>
            <a:ext cx="20916710" cy="12859425"/>
          </a:xfrm>
        </p:spPr>
        <p:txBody>
          <a:bodyPr/>
          <a:lstStyle>
            <a:lvl1pPr marL="1392144" indent="0">
              <a:buNone/>
              <a:defRPr sz="55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1757248" y="6223327"/>
            <a:ext cx="19570361" cy="20971976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One Text Column with Picture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24044320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3908301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1759881" y="6223329"/>
            <a:ext cx="19482685" cy="20960400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23329"/>
            <a:ext cx="19415446" cy="20960400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wo Text Columns without Picture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40589041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3982555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10" name="Picture Placeholder 1"/>
          <p:cNvSpPr>
            <a:spLocks noGrp="1"/>
          </p:cNvSpPr>
          <p:nvPr>
            <p:ph type="pic" sz="quarter" idx="15" hasCustomPrompt="1"/>
          </p:nvPr>
        </p:nvSpPr>
        <p:spPr>
          <a:xfrm>
            <a:off x="21757248" y="6230714"/>
            <a:ext cx="21087790" cy="8445943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1757248" y="16002840"/>
            <a:ext cx="19567025" cy="11192463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23329"/>
            <a:ext cx="19415446" cy="20960400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wo Text Columns with Picture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25282765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6933315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8674934" y="6230716"/>
            <a:ext cx="12635102" cy="20960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5010640" y="6230716"/>
            <a:ext cx="12823758" cy="20960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30716"/>
            <a:ext cx="12652678" cy="20960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hree Text Columns without Picture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28817783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w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439891124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8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lide Number"/>
          <p:cNvSpPr>
            <a:spLocks noGrp="1"/>
          </p:cNvSpPr>
          <p:nvPr>
            <p:ph type="sldNum" sz="quarter" idx="4"/>
          </p:nvPr>
        </p:nvSpPr>
        <p:spPr>
          <a:xfrm>
            <a:off x="39623226" y="28814638"/>
            <a:ext cx="1686813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700">
                <a:solidFill>
                  <a:schemeClr val="tx1"/>
                </a:solidFill>
              </a:defRPr>
            </a:lvl1pPr>
          </a:lstStyle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Date"/>
          <p:cNvSpPr>
            <a:spLocks noGrp="1"/>
          </p:cNvSpPr>
          <p:nvPr>
            <p:ph type="dt" sz="half" idx="2"/>
          </p:nvPr>
        </p:nvSpPr>
        <p:spPr>
          <a:xfrm>
            <a:off x="33719382" y="28814638"/>
            <a:ext cx="5229119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15" name="Footer"/>
          <p:cNvSpPr>
            <a:spLocks noGrp="1"/>
          </p:cNvSpPr>
          <p:nvPr>
            <p:ph type="ftr" sz="quarter" idx="3"/>
          </p:nvPr>
        </p:nvSpPr>
        <p:spPr>
          <a:xfrm>
            <a:off x="7270162" y="28814638"/>
            <a:ext cx="25116638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EGAL ENTITY, department or author (Click Insert | Header &amp; Footer)</a:t>
            </a:r>
          </a:p>
        </p:txBody>
      </p:sp>
      <p:pic>
        <p:nvPicPr>
          <p:cNvPr id="13" name="Logo" descr="AQAAAAAQAOPGc7iC00xJp5i0DRTyarEZu5aoaY1YH2pg8x/bEmttkbJ7pKmIiIK3RoLcLFTuA7vSc2GVAFNqYiyWsjYU7LWZ0fL3poKW/1jlKv/gDYu67YgFLZyxiM9f2aLHxCSw5Mgbp8oI/L/O9CJtAZFnVX6Tm8S7JW0heDUyTN1EhMvur4ZTtGG9aphVpcs0OGfq2QhhLRqdrmlPNPVN8JqzFrVnxs6nLi87hHQ5i3Nk/RrPGGGZBeyuBJa1ubybYHLpSLuQUriVGk9xufFWe9sjV/SU8W5xqbwjGXxHD3X1SxQJDlf3xT8PZgBdbgNXK3wAQdIvvFFFphv020Fn3snchH74+fslAnVEu5KMSPe0zbXNZQwfFz/Uxi7g4VpNk+ycHpGfEEJVCXeYOinGEY5AFP5ErQ+7AB6/GF2xkMJtYuXNRcv3xDRSwKIT1Q2zup4AU8O9HKaTbEiYT5opWfd/sBL7D+QhgVosHjcKyIG7FaOKTkw2210z8PujMYiI9FtlvUNHOigcLCOsqw2ONcUTwCA=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508" y="28449496"/>
            <a:ext cx="3714656" cy="826977"/>
          </a:xfrm>
          <a:prstGeom prst="rect">
            <a:avLst/>
          </a:prstGeom>
        </p:spPr>
      </p:pic>
      <p:cxnSp>
        <p:nvCxnSpPr>
          <p:cNvPr id="10" name="Black_line"/>
          <p:cNvCxnSpPr/>
          <p:nvPr/>
        </p:nvCxnSpPr>
        <p:spPr>
          <a:xfrm>
            <a:off x="1501263" y="28131977"/>
            <a:ext cx="39808775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1"/>
          <p:cNvSpPr>
            <a:spLocks noGrp="1"/>
          </p:cNvSpPr>
          <p:nvPr>
            <p:ph type="body" idx="1"/>
          </p:nvPr>
        </p:nvSpPr>
        <p:spPr>
          <a:xfrm>
            <a:off x="1501263" y="6230714"/>
            <a:ext cx="39808775" cy="20956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01263" y="1301819"/>
            <a:ext cx="39808775" cy="34926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496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4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69" r:id="rId17"/>
    <p:sldLayoutId id="2147483671" r:id="rId18"/>
  </p:sldLayoutIdLst>
  <p:hf sldNum="0" hdr="0" ftr="0" dt="0"/>
  <p:txStyles>
    <p:titleStyle>
      <a:lvl1pPr algn="l" defTabSz="4176431" rtl="0" eaLnBrk="1" latinLnBrk="0" hangingPunct="1">
        <a:lnSpc>
          <a:spcPct val="82000"/>
        </a:lnSpc>
        <a:spcBef>
          <a:spcPct val="0"/>
        </a:spcBef>
        <a:buNone/>
        <a:defRPr sz="12800" b="0" kern="1200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33198" indent="-1233198" algn="l" defTabSz="4176431" rtl="0" eaLnBrk="1" latinLnBrk="0" hangingPunct="1"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7300" kern="1200">
          <a:solidFill>
            <a:schemeClr val="tx1"/>
          </a:solidFill>
          <a:latin typeface="+mn-lt"/>
          <a:ea typeface="+mn-ea"/>
          <a:cs typeface="+mn-cs"/>
        </a:defRPr>
      </a:lvl1pPr>
      <a:lvl2pPr marL="2458006" indent="-1239880" algn="l" defTabSz="4176431" rtl="0" eaLnBrk="1" latinLnBrk="0" hangingPunct="1">
        <a:spcBef>
          <a:spcPts val="0"/>
        </a:spcBef>
        <a:buFont typeface="Credit Suisse Type Light" pitchFamily="34" charset="0"/>
        <a:buChar char="–"/>
        <a:defRPr sz="7300" kern="1200">
          <a:solidFill>
            <a:schemeClr val="tx1"/>
          </a:solidFill>
          <a:latin typeface="+mn-lt"/>
          <a:ea typeface="+mn-ea"/>
          <a:cs typeface="+mn-cs"/>
        </a:defRPr>
      </a:lvl2pPr>
      <a:lvl3pPr marL="3699594" indent="-1225379" algn="l" defTabSz="4176431" rtl="0" eaLnBrk="1" latinLnBrk="0" hangingPunct="1"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7300" kern="1200">
          <a:solidFill>
            <a:schemeClr val="tx1"/>
          </a:solidFill>
          <a:latin typeface="+mn-lt"/>
          <a:ea typeface="+mn-ea"/>
          <a:cs typeface="+mn-cs"/>
        </a:defRPr>
      </a:lvl3pPr>
      <a:lvl4pPr marL="4932792" indent="-1232627" algn="l" defTabSz="4176431" rtl="0" eaLnBrk="1" latinLnBrk="0" hangingPunct="1">
        <a:spcBef>
          <a:spcPts val="0"/>
        </a:spcBef>
        <a:buFont typeface="Credit Suisse Type Light" pitchFamily="34" charset="0"/>
        <a:buChar char="–"/>
        <a:defRPr lang="en-US" sz="73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141385" indent="-1225379" algn="l" defTabSz="4176431" rtl="0" eaLnBrk="1" latinLnBrk="0" hangingPunct="1">
        <a:spcBef>
          <a:spcPts val="0"/>
        </a:spcBef>
        <a:buClr>
          <a:srgbClr val="91867E"/>
        </a:buClr>
        <a:buFont typeface="Credit Suisse Type Light" pitchFamily="34" charset="0"/>
        <a:buChar char=""/>
        <a:defRPr sz="7300" kern="1200">
          <a:solidFill>
            <a:schemeClr val="tx1"/>
          </a:solidFill>
          <a:latin typeface="+mn-lt"/>
          <a:ea typeface="+mn-ea"/>
          <a:cs typeface="+mn-cs"/>
        </a:defRPr>
      </a:lvl5pPr>
      <a:lvl6pPr marL="11485184" indent="-1044108" algn="l" defTabSz="4176431" rtl="0" eaLnBrk="1" latinLnBrk="0" hangingPunct="1">
        <a:spcBef>
          <a:spcPct val="20000"/>
        </a:spcBef>
        <a:buFont typeface="Arial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6pPr>
      <a:lvl7pPr marL="13573399" indent="-1044108" algn="l" defTabSz="4176431" rtl="0" eaLnBrk="1" latinLnBrk="0" hangingPunct="1">
        <a:spcBef>
          <a:spcPct val="20000"/>
        </a:spcBef>
        <a:buFont typeface="Arial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7pPr>
      <a:lvl8pPr marL="15661615" indent="-1044108" algn="l" defTabSz="4176431" rtl="0" eaLnBrk="1" latinLnBrk="0" hangingPunct="1">
        <a:spcBef>
          <a:spcPct val="20000"/>
        </a:spcBef>
        <a:buFont typeface="Arial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8pPr>
      <a:lvl9pPr marL="16705722" indent="0" algn="l" defTabSz="4176431" rtl="0" eaLnBrk="1" latinLnBrk="0" hangingPunct="1">
        <a:spcBef>
          <a:spcPct val="20000"/>
        </a:spcBef>
        <a:buFont typeface="Arial" pitchFamily="34" charset="0"/>
        <a:buNone/>
        <a:defRPr sz="9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1pPr>
      <a:lvl2pPr marL="2088215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2pPr>
      <a:lvl3pPr marL="4176431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3pPr>
      <a:lvl4pPr marL="6264646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4pPr>
      <a:lvl5pPr marL="8352861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5pPr>
      <a:lvl6pPr marL="10441076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6pPr>
      <a:lvl7pPr marL="12529292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7pPr>
      <a:lvl8pPr marL="14617507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8pPr>
      <a:lvl9pPr marL="16705722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tiff"/><Relationship Id="rId3" Type="http://schemas.openxmlformats.org/officeDocument/2006/relationships/image" Target="../media/image3.tiff"/><Relationship Id="rId7" Type="http://schemas.openxmlformats.org/officeDocument/2006/relationships/image" Target="../media/image7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.tiff"/><Relationship Id="rId5" Type="http://schemas.openxmlformats.org/officeDocument/2006/relationships/image" Target="../media/image5.tiff"/><Relationship Id="rId4" Type="http://schemas.openxmlformats.org/officeDocument/2006/relationships/image" Target="../media/image4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34244" y="1112919"/>
            <a:ext cx="41620624" cy="2923524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2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8522339" y="808761"/>
            <a:ext cx="13498205" cy="286591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2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4765074" y="808761"/>
            <a:ext cx="13498205" cy="2865918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200" dirty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044255" y="808760"/>
            <a:ext cx="13498205" cy="2865918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200" dirty="0">
              <a:solidFill>
                <a:schemeClr val="bg1"/>
              </a:solidFill>
            </a:endParaRPr>
          </a:p>
        </p:txBody>
      </p:sp>
      <p:sp>
        <p:nvSpPr>
          <p:cNvPr id="14" name="Notched Right Arrow 13"/>
          <p:cNvSpPr/>
          <p:nvPr/>
        </p:nvSpPr>
        <p:spPr>
          <a:xfrm>
            <a:off x="28034794" y="3308250"/>
            <a:ext cx="13432786" cy="2520000"/>
          </a:xfrm>
          <a:prstGeom prst="notched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127000" dist="254000" dir="2700000" algn="tl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6000" b="1" dirty="0" err="1">
                <a:solidFill>
                  <a:schemeClr val="bg1"/>
                </a:solidFill>
              </a:rPr>
              <a:t>Visualization</a:t>
            </a:r>
            <a:endParaRPr lang="de-CH" sz="6000" b="1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692327" y="1368203"/>
            <a:ext cx="39604400" cy="177957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127000" dist="254000" dir="2700000" algn="tl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6000" b="1" dirty="0">
                <a:solidFill>
                  <a:schemeClr val="bg1"/>
                </a:solidFill>
              </a:rPr>
              <a:t>Smart </a:t>
            </a:r>
            <a:r>
              <a:rPr lang="de-CH" sz="6000" b="1" dirty="0" err="1">
                <a:solidFill>
                  <a:schemeClr val="bg1"/>
                </a:solidFill>
              </a:rPr>
              <a:t>Recipes</a:t>
            </a:r>
            <a:endParaRPr lang="de-CH" sz="6000" b="1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363818" y="5976715"/>
            <a:ext cx="12889432" cy="7416824"/>
          </a:xfrm>
          <a:prstGeom prst="rect">
            <a:avLst/>
          </a:prstGeom>
          <a:solidFill>
            <a:srgbClr val="0072CE"/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200"/>
              </a:spcAft>
            </a:pPr>
            <a:r>
              <a:rPr lang="de-CH" sz="4400" b="1" dirty="0">
                <a:solidFill>
                  <a:schemeClr val="bg1"/>
                </a:solidFill>
              </a:rPr>
              <a:t>Motivation</a:t>
            </a:r>
          </a:p>
          <a:p>
            <a:pPr marL="571500" indent="-57150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4000" dirty="0"/>
              <a:t>Millions of people check recipe websites everyday. Either to look-up something delicious they ate or to try a new recipe out. At the end people submit to the website if they were able to reproduce the recipe and how well it tasted.</a:t>
            </a:r>
          </a:p>
          <a:p>
            <a:pPr marL="571500" indent="-57150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4000" dirty="0"/>
              <a:t>Usually when we search for recipes online we search for recipes rated highly by the crowd as it implies that most people enjoyed the meal.</a:t>
            </a:r>
          </a:p>
          <a:p>
            <a:pPr marL="571500" indent="-57150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4000" dirty="0"/>
              <a:t>In this project we aim in helping all chefs in maximizing the number of good reviews for their recipes by exploring all factors that contribute in having a good rating.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e-CH" sz="4000" dirty="0">
              <a:solidFill>
                <a:schemeClr val="bg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331172" y="13897595"/>
            <a:ext cx="12889432" cy="15265644"/>
          </a:xfrm>
          <a:prstGeom prst="rect">
            <a:avLst/>
          </a:prstGeom>
          <a:solidFill>
            <a:srgbClr val="0072CE"/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200"/>
              </a:spcAft>
            </a:pPr>
            <a:r>
              <a:rPr lang="en-US" sz="4400" b="1" dirty="0"/>
              <a:t>Data Collection and Cleaning</a:t>
            </a:r>
          </a:p>
          <a:p>
            <a:pPr marL="571500" indent="-57150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4000" dirty="0"/>
              <a:t>Dataset consists of dump of website links having recipes.</a:t>
            </a:r>
          </a:p>
          <a:p>
            <a:pPr marL="571500" indent="-57150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4000" dirty="0"/>
              <a:t>These links can have recipes or search results.</a:t>
            </a:r>
          </a:p>
          <a:p>
            <a:pPr marL="571500" indent="-57150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4000" dirty="0"/>
              <a:t>Built scrapers for top 3 websites as they contain 65 % of the data.</a:t>
            </a:r>
          </a:p>
        </p:txBody>
      </p:sp>
      <p:sp>
        <p:nvSpPr>
          <p:cNvPr id="22" name="Rectangle 21"/>
          <p:cNvSpPr/>
          <p:nvPr/>
        </p:nvSpPr>
        <p:spPr>
          <a:xfrm>
            <a:off x="900239" y="29650726"/>
            <a:ext cx="13475619" cy="4486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de-CH" sz="2400" dirty="0">
                <a:solidFill>
                  <a:schemeClr val="tx1"/>
                </a:solidFill>
              </a:rPr>
              <a:t>EPFL 2018-2019 Applied Data Analysis                                       Omar </a:t>
            </a:r>
            <a:r>
              <a:rPr lang="de-CH" sz="2400" dirty="0" err="1">
                <a:solidFill>
                  <a:schemeClr val="tx1"/>
                </a:solidFill>
              </a:rPr>
              <a:t>Mehio</a:t>
            </a:r>
            <a:r>
              <a:rPr lang="de-CH" sz="2400" dirty="0">
                <a:solidFill>
                  <a:schemeClr val="tx1"/>
                </a:solidFill>
              </a:rPr>
              <a:t> – Leonardo Perrone – Attila Bekker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5013807" y="5976715"/>
            <a:ext cx="12889432" cy="403244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200"/>
              </a:spcAft>
            </a:pPr>
            <a:r>
              <a:rPr lang="de-CH" sz="4400" b="1" dirty="0">
                <a:solidFill>
                  <a:schemeClr val="bg1"/>
                </a:solidFill>
              </a:rPr>
              <a:t>Dataset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28695329" y="5976715"/>
            <a:ext cx="6258808" cy="76328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000" b="1" dirty="0"/>
              <a:t>How long should your meal be cooked ?</a:t>
            </a:r>
          </a:p>
          <a:p>
            <a:pPr algn="ctr"/>
            <a:endParaRPr lang="de-CH" sz="4000" b="1" dirty="0">
              <a:solidFill>
                <a:schemeClr val="bg1"/>
              </a:solidFill>
            </a:endParaRPr>
          </a:p>
        </p:txBody>
      </p:sp>
      <p:sp>
        <p:nvSpPr>
          <p:cNvPr id="13" name="Notched Right Arrow 12"/>
          <p:cNvSpPr/>
          <p:nvPr/>
        </p:nvSpPr>
        <p:spPr>
          <a:xfrm>
            <a:off x="14447866" y="3312606"/>
            <a:ext cx="14303114" cy="2520000"/>
          </a:xfrm>
          <a:prstGeom prst="notched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127000" dist="254000" dir="2700000" algn="tl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6000" b="1" dirty="0">
                <a:solidFill>
                  <a:schemeClr val="bg1"/>
                </a:solidFill>
              </a:rPr>
              <a:t>Data Analysis</a:t>
            </a:r>
          </a:p>
        </p:txBody>
      </p:sp>
      <p:sp>
        <p:nvSpPr>
          <p:cNvPr id="12" name="Notched Right Arrow 11"/>
          <p:cNvSpPr/>
          <p:nvPr/>
        </p:nvSpPr>
        <p:spPr>
          <a:xfrm>
            <a:off x="1395349" y="3312605"/>
            <a:ext cx="13753528" cy="2520094"/>
          </a:xfrm>
          <a:prstGeom prst="notchedRightArrow">
            <a:avLst/>
          </a:prstGeom>
          <a:solidFill>
            <a:srgbClr val="0072CE"/>
          </a:solidFill>
          <a:ln>
            <a:noFill/>
          </a:ln>
          <a:effectLst>
            <a:outerShdw blurRad="127000" dist="254000" dir="2700000" algn="tl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6000" b="1" dirty="0">
                <a:solidFill>
                  <a:schemeClr val="bg1"/>
                </a:solidFill>
              </a:rPr>
              <a:t>Data </a:t>
            </a:r>
            <a:r>
              <a:rPr lang="de-CH" sz="6000" b="1" dirty="0" err="1">
                <a:solidFill>
                  <a:schemeClr val="bg1"/>
                </a:solidFill>
              </a:rPr>
              <a:t>Scraping</a:t>
            </a:r>
            <a:endParaRPr lang="de-CH" sz="6000" b="1" dirty="0">
              <a:solidFill>
                <a:schemeClr val="bg1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F162967-7579-B141-8B77-C845189096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2565" t="6803" r="5740" b="7392"/>
          <a:stretch/>
        </p:blipFill>
        <p:spPr>
          <a:xfrm>
            <a:off x="1692327" y="17497995"/>
            <a:ext cx="12025847" cy="1065718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F5EF3AF-A0A5-6245-B7C7-D8C6F6D31BCA}"/>
              </a:ext>
            </a:extLst>
          </p:cNvPr>
          <p:cNvSpPr txBox="1"/>
          <p:nvPr/>
        </p:nvSpPr>
        <p:spPr>
          <a:xfrm>
            <a:off x="2023837" y="28371203"/>
            <a:ext cx="634025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Figure 1:Number of Links per website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C469071-D0CF-2E4E-B0E9-BCE7849A8D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9336199"/>
              </p:ext>
            </p:extLst>
          </p:nvPr>
        </p:nvGraphicFramePr>
        <p:xfrm>
          <a:off x="15320399" y="6840811"/>
          <a:ext cx="12330812" cy="28326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2758">
                  <a:extLst>
                    <a:ext uri="{9D8B030D-6E8A-4147-A177-3AD203B41FA5}">
                      <a16:colId xmlns:a16="http://schemas.microsoft.com/office/drawing/2014/main" val="495555265"/>
                    </a:ext>
                  </a:extLst>
                </a:gridCol>
                <a:gridCol w="1009530">
                  <a:extLst>
                    <a:ext uri="{9D8B030D-6E8A-4147-A177-3AD203B41FA5}">
                      <a16:colId xmlns:a16="http://schemas.microsoft.com/office/drawing/2014/main" val="2210925921"/>
                    </a:ext>
                  </a:extLst>
                </a:gridCol>
                <a:gridCol w="1813749">
                  <a:extLst>
                    <a:ext uri="{9D8B030D-6E8A-4147-A177-3AD203B41FA5}">
                      <a16:colId xmlns:a16="http://schemas.microsoft.com/office/drawing/2014/main" val="181897008"/>
                    </a:ext>
                  </a:extLst>
                </a:gridCol>
                <a:gridCol w="1886169">
                  <a:extLst>
                    <a:ext uri="{9D8B030D-6E8A-4147-A177-3AD203B41FA5}">
                      <a16:colId xmlns:a16="http://schemas.microsoft.com/office/drawing/2014/main" val="1417954490"/>
                    </a:ext>
                  </a:extLst>
                </a:gridCol>
                <a:gridCol w="856015">
                  <a:extLst>
                    <a:ext uri="{9D8B030D-6E8A-4147-A177-3AD203B41FA5}">
                      <a16:colId xmlns:a16="http://schemas.microsoft.com/office/drawing/2014/main" val="1205584879"/>
                    </a:ext>
                  </a:extLst>
                </a:gridCol>
                <a:gridCol w="1368421">
                  <a:extLst>
                    <a:ext uri="{9D8B030D-6E8A-4147-A177-3AD203B41FA5}">
                      <a16:colId xmlns:a16="http://schemas.microsoft.com/office/drawing/2014/main" val="789892014"/>
                    </a:ext>
                  </a:extLst>
                </a:gridCol>
                <a:gridCol w="1488430">
                  <a:extLst>
                    <a:ext uri="{9D8B030D-6E8A-4147-A177-3AD203B41FA5}">
                      <a16:colId xmlns:a16="http://schemas.microsoft.com/office/drawing/2014/main" val="1324944418"/>
                    </a:ext>
                  </a:extLst>
                </a:gridCol>
                <a:gridCol w="1189610">
                  <a:extLst>
                    <a:ext uri="{9D8B030D-6E8A-4147-A177-3AD203B41FA5}">
                      <a16:colId xmlns:a16="http://schemas.microsoft.com/office/drawing/2014/main" val="1092037311"/>
                    </a:ext>
                  </a:extLst>
                </a:gridCol>
                <a:gridCol w="1066130">
                  <a:extLst>
                    <a:ext uri="{9D8B030D-6E8A-4147-A177-3AD203B41FA5}">
                      <a16:colId xmlns:a16="http://schemas.microsoft.com/office/drawing/2014/main" val="2895587996"/>
                    </a:ext>
                  </a:extLst>
                </a:gridCol>
              </a:tblGrid>
              <a:tr h="61922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900" b="0" i="0" u="none" strike="noStrike" dirty="0">
                          <a:solidFill>
                            <a:srgbClr val="FFFFFF"/>
                          </a:solidFill>
                          <a:effectLst/>
                          <a:latin typeface="Credit Suisse Type Light"/>
                        </a:rPr>
                        <a:t> Websi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900" b="0" i="0" u="none" strike="noStrike" dirty="0">
                          <a:solidFill>
                            <a:schemeClr val="bg1"/>
                          </a:solidFill>
                          <a:effectLst/>
                          <a:latin typeface="Credit Suisse Type Light"/>
                        </a:rPr>
                        <a:t>Nam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900" b="0" i="0" u="none" strike="noStrike" dirty="0">
                          <a:solidFill>
                            <a:schemeClr val="bg1"/>
                          </a:solidFill>
                          <a:effectLst/>
                          <a:latin typeface="Credit Suisse Type Light"/>
                        </a:rPr>
                        <a:t>Ingredient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900" b="0" i="0" u="none" strike="noStrike" dirty="0">
                          <a:solidFill>
                            <a:schemeClr val="bg1"/>
                          </a:solidFill>
                          <a:effectLst/>
                          <a:latin typeface="Credit Suisse Type Light"/>
                        </a:rPr>
                        <a:t>Preparatio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900" b="0" i="0" u="none" strike="noStrike">
                          <a:solidFill>
                            <a:schemeClr val="bg1"/>
                          </a:solidFill>
                          <a:effectLst/>
                          <a:latin typeface="Credit Suisse Type Light"/>
                        </a:rPr>
                        <a:t>Tim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900" b="0" i="0" u="none" strike="noStrike" dirty="0">
                          <a:solidFill>
                            <a:schemeClr val="bg1"/>
                          </a:solidFill>
                          <a:effectLst/>
                          <a:latin typeface="Credit Suisse Type Light"/>
                        </a:rPr>
                        <a:t>Serving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900" b="0" i="0" u="none" strike="noStrike" dirty="0">
                          <a:solidFill>
                            <a:schemeClr val="bg1"/>
                          </a:solidFill>
                          <a:effectLst/>
                          <a:latin typeface="Credit Suisse Type Light"/>
                        </a:rPr>
                        <a:t>Nutritio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900" b="0" i="0" u="none" strike="noStrike" dirty="0">
                          <a:solidFill>
                            <a:schemeClr val="bg1"/>
                          </a:solidFill>
                          <a:effectLst/>
                          <a:latin typeface="Credit Suisse Type Light"/>
                        </a:rPr>
                        <a:t>Review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900" b="0" i="0" u="none" strike="noStrike" dirty="0">
                          <a:solidFill>
                            <a:schemeClr val="bg1"/>
                          </a:solidFill>
                          <a:effectLst/>
                          <a:latin typeface="Credit Suisse Type Light"/>
                        </a:rPr>
                        <a:t>Rating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54558963"/>
                  </a:ext>
                </a:extLst>
              </a:tr>
              <a:tr h="69974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3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redit Suisse Type Light"/>
                        </a:rPr>
                        <a:t>AllRecipe</a:t>
                      </a:r>
                      <a:endParaRPr lang="en-US" sz="3000" b="1" i="0" u="none" strike="noStrike" dirty="0">
                        <a:solidFill>
                          <a:schemeClr val="tx1"/>
                        </a:solidFill>
                        <a:effectLst/>
                        <a:latin typeface="Credit Suisse Type Ligh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35937858"/>
                  </a:ext>
                </a:extLst>
              </a:tr>
              <a:tr h="7568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3000" b="1" i="0" u="none" strike="noStrike">
                          <a:solidFill>
                            <a:schemeClr val="tx1"/>
                          </a:solidFill>
                          <a:effectLst/>
                          <a:latin typeface="Credit Suisse Type Light"/>
                        </a:rPr>
                        <a:t>Fo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✗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82190566"/>
                  </a:ext>
                </a:extLst>
              </a:tr>
              <a:tr h="7568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3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redit Suisse Type Light"/>
                        </a:rPr>
                        <a:t>FoodNet</a:t>
                      </a:r>
                      <a:endParaRPr lang="en-US" sz="3000" b="1" i="0" u="none" strike="noStrike" dirty="0">
                        <a:solidFill>
                          <a:schemeClr val="tx1"/>
                        </a:solidFill>
                        <a:effectLst/>
                        <a:latin typeface="Credit Suisse Type Ligh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✗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✗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93885420"/>
                  </a:ext>
                </a:extLst>
              </a:tr>
            </a:tbl>
          </a:graphicData>
        </a:graphic>
      </p:graphicFrame>
      <p:sp>
        <p:nvSpPr>
          <p:cNvPr id="25" name="Rectangle 24">
            <a:extLst>
              <a:ext uri="{FF2B5EF4-FFF2-40B4-BE49-F238E27FC236}">
                <a16:creationId xmlns:a16="http://schemas.microsoft.com/office/drawing/2014/main" id="{DBF8F970-F720-CD47-966C-B2ABE46DA6C9}"/>
              </a:ext>
            </a:extLst>
          </p:cNvPr>
          <p:cNvSpPr/>
          <p:nvPr/>
        </p:nvSpPr>
        <p:spPr>
          <a:xfrm>
            <a:off x="15013807" y="10437831"/>
            <a:ext cx="12889432" cy="1462100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200"/>
              </a:spcAft>
            </a:pPr>
            <a:r>
              <a:rPr lang="en-US" sz="4400" b="1" dirty="0"/>
              <a:t>Unsupervised</a:t>
            </a:r>
            <a:r>
              <a:rPr lang="en-US" sz="4000" b="1" dirty="0"/>
              <a:t> Learning to the Rescue</a:t>
            </a:r>
          </a:p>
          <a:p>
            <a:pPr marL="571500" indent="-57150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3600" dirty="0"/>
              <a:t>Aim is to unify the datasets into one global dataset. </a:t>
            </a:r>
          </a:p>
          <a:p>
            <a:pPr marL="571500" indent="-57150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3600" dirty="0"/>
              <a:t>Word2vec to map ingredients into vectors that were clustered into food type clusters using k-means (silhouette analysis to find the best k). </a:t>
            </a:r>
          </a:p>
          <a:p>
            <a:pPr marL="571500" indent="-57150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3600" dirty="0"/>
              <a:t>Logistic regression trained on reviews of </a:t>
            </a:r>
            <a:r>
              <a:rPr lang="en-US" sz="3600" dirty="0" err="1"/>
              <a:t>allrecipe.com</a:t>
            </a:r>
            <a:r>
              <a:rPr lang="en-US" sz="3600" dirty="0"/>
              <a:t> and used to predict ratings from </a:t>
            </a:r>
            <a:r>
              <a:rPr lang="en-US" sz="3600" dirty="0" err="1"/>
              <a:t>food.com</a:t>
            </a:r>
            <a:r>
              <a:rPr lang="en-US" sz="3600" dirty="0"/>
              <a:t> review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D0CE418-031B-8746-89E2-D51EE9FA9C5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517" t="10510" r="6897" b="8111"/>
          <a:stretch/>
        </p:blipFill>
        <p:spPr>
          <a:xfrm>
            <a:off x="16125597" y="14783655"/>
            <a:ext cx="10883169" cy="9725537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36DBE620-0F17-7741-BA39-0EC8ED7D9475}"/>
              </a:ext>
            </a:extLst>
          </p:cNvPr>
          <p:cNvSpPr txBox="1"/>
          <p:nvPr/>
        </p:nvSpPr>
        <p:spPr>
          <a:xfrm>
            <a:off x="16162385" y="24555940"/>
            <a:ext cx="634025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Figure 2:AllRecipe.com cluster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22261D8-6A6C-E24C-B6B3-2D7FA1BF453C}"/>
              </a:ext>
            </a:extLst>
          </p:cNvPr>
          <p:cNvSpPr/>
          <p:nvPr/>
        </p:nvSpPr>
        <p:spPr>
          <a:xfrm>
            <a:off x="15012267" y="25334810"/>
            <a:ext cx="12889432" cy="375271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200"/>
              </a:spcAft>
            </a:pPr>
            <a:r>
              <a:rPr lang="en-US" sz="4400" b="1" dirty="0"/>
              <a:t>Analysis</a:t>
            </a:r>
            <a:endParaRPr lang="en-US" sz="4400" dirty="0"/>
          </a:p>
          <a:p>
            <a:pPr marL="571500" indent="-57150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4000" dirty="0"/>
              <a:t>compute average of ratings per recipe </a:t>
            </a:r>
          </a:p>
          <a:p>
            <a:pPr marL="571500" indent="-57150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4000" dirty="0"/>
              <a:t>bucket dependent variable if necessary</a:t>
            </a:r>
          </a:p>
          <a:p>
            <a:pPr marL="571500" indent="-57150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4000" dirty="0"/>
              <a:t>perform a count of rating value per dependent variable unique values</a:t>
            </a:r>
            <a:endParaRPr lang="en-US" sz="4000" b="1" dirty="0"/>
          </a:p>
          <a:p>
            <a:endParaRPr lang="de-CH" sz="3600" dirty="0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861207D-C5E2-4846-AE77-1CF9FA0051C5}"/>
              </a:ext>
            </a:extLst>
          </p:cNvPr>
          <p:cNvSpPr/>
          <p:nvPr/>
        </p:nvSpPr>
        <p:spPr>
          <a:xfrm>
            <a:off x="28747503" y="21687531"/>
            <a:ext cx="13046466" cy="747570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400" b="1" dirty="0"/>
              <a:t>Our Advice to you</a:t>
            </a:r>
            <a:br>
              <a:rPr lang="en-US" sz="4400" b="1" dirty="0"/>
            </a:br>
            <a:endParaRPr lang="en-US" sz="4400" b="1" dirty="0"/>
          </a:p>
          <a:p>
            <a:pPr marL="571500" indent="-571500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4000" dirty="0"/>
              <a:t>Design a meal to be cooked and prepared in less than an hour</a:t>
            </a:r>
          </a:p>
          <a:p>
            <a:pPr marL="571500" indent="-571500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4000" dirty="0"/>
              <a:t>Try to serve as much people as you can</a:t>
            </a:r>
          </a:p>
          <a:p>
            <a:pPr marL="571500" indent="-571500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4000" dirty="0"/>
              <a:t>Try to combine a moderate amount cheeses with bread along with some sauces </a:t>
            </a:r>
          </a:p>
          <a:p>
            <a:pPr marL="571500" indent="-571500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4000" dirty="0"/>
              <a:t>Low levels of fats and cholesterol is negatively correlated with large numbers of servings</a:t>
            </a:r>
            <a:endParaRPr lang="de-CH" sz="4000" b="1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B2C43E9-A7FC-0F49-9F32-B98B9C6FC04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56" t="10662" r="6530" b="6747"/>
          <a:stretch/>
        </p:blipFill>
        <p:spPr>
          <a:xfrm>
            <a:off x="28839343" y="7272859"/>
            <a:ext cx="6035739" cy="5291269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0C9318A6-1850-A149-BF74-291B6AB24F65}"/>
              </a:ext>
            </a:extLst>
          </p:cNvPr>
          <p:cNvSpPr txBox="1"/>
          <p:nvPr/>
        </p:nvSpPr>
        <p:spPr>
          <a:xfrm>
            <a:off x="28805088" y="12865935"/>
            <a:ext cx="6039289" cy="3539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300" dirty="0">
                <a:solidFill>
                  <a:schemeClr val="bg1"/>
                </a:solidFill>
              </a:rPr>
              <a:t>Figure 3:Rating counts per cooking time bucke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851257A-3135-074B-AD7A-AAE5B4BB32BD}"/>
              </a:ext>
            </a:extLst>
          </p:cNvPr>
          <p:cNvSpPr/>
          <p:nvPr/>
        </p:nvSpPr>
        <p:spPr>
          <a:xfrm>
            <a:off x="35332247" y="5976715"/>
            <a:ext cx="6461722" cy="76328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000" b="1" dirty="0"/>
              <a:t>How many people should you serve?</a:t>
            </a:r>
            <a:endParaRPr lang="de-CH" sz="4000" b="1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7641517-CB74-8D40-A229-25D04A9121D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822" t="10879" r="8143" b="7351"/>
          <a:stretch/>
        </p:blipFill>
        <p:spPr>
          <a:xfrm>
            <a:off x="35495478" y="7272859"/>
            <a:ext cx="6131888" cy="5291268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4F5A5148-3030-E242-B1A7-BEC90E306C08}"/>
              </a:ext>
            </a:extLst>
          </p:cNvPr>
          <p:cNvSpPr txBox="1"/>
          <p:nvPr/>
        </p:nvSpPr>
        <p:spPr>
          <a:xfrm>
            <a:off x="35515548" y="12757661"/>
            <a:ext cx="6111818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300" dirty="0">
                <a:solidFill>
                  <a:schemeClr val="bg1"/>
                </a:solidFill>
              </a:rPr>
              <a:t>Figure 4: Rating counts per number of servings bucke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38879F8-517A-1541-84C4-625549BD8D94}"/>
              </a:ext>
            </a:extLst>
          </p:cNvPr>
          <p:cNvSpPr/>
          <p:nvPr/>
        </p:nvSpPr>
        <p:spPr>
          <a:xfrm>
            <a:off x="28695329" y="14257636"/>
            <a:ext cx="6258808" cy="684096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000" b="1" dirty="0"/>
              <a:t>Health Scores</a:t>
            </a:r>
            <a:endParaRPr lang="de-CH" sz="4000" b="1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DEE60B-3F0E-BC4D-874F-04FD1A412B7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-174" t="11371" r="8928" b="906"/>
          <a:stretch/>
        </p:blipFill>
        <p:spPr>
          <a:xfrm>
            <a:off x="28853366" y="15483483"/>
            <a:ext cx="5962641" cy="5118017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0EA8FD20-26FB-4841-8C18-F913BEE08372}"/>
              </a:ext>
            </a:extLst>
          </p:cNvPr>
          <p:cNvSpPr/>
          <p:nvPr/>
        </p:nvSpPr>
        <p:spPr>
          <a:xfrm>
            <a:off x="35296897" y="14261019"/>
            <a:ext cx="6468016" cy="68373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600" b="1" dirty="0"/>
              <a:t>What is the best ingredient composition ?</a:t>
            </a:r>
            <a:endParaRPr lang="de-CH" sz="3600" b="1" dirty="0">
              <a:solidFill>
                <a:schemeClr val="bg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0DA7FE2-D2C3-8649-A709-384685C5ECA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1030" r="8864" b="7703"/>
          <a:stretch/>
        </p:blipFill>
        <p:spPr>
          <a:xfrm>
            <a:off x="35419534" y="15494019"/>
            <a:ext cx="6224760" cy="5106416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1420A798-841F-9949-AB6F-9086B4E9237F}"/>
              </a:ext>
            </a:extLst>
          </p:cNvPr>
          <p:cNvSpPr txBox="1"/>
          <p:nvPr/>
        </p:nvSpPr>
        <p:spPr>
          <a:xfrm>
            <a:off x="28839343" y="20672444"/>
            <a:ext cx="6039289" cy="3539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300" dirty="0">
                <a:solidFill>
                  <a:schemeClr val="bg1"/>
                </a:solidFill>
              </a:rPr>
              <a:t>Figure 5:Count of Recipes per Health grad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0D844D0-352E-274D-833C-02B0D168F9EB}"/>
              </a:ext>
            </a:extLst>
          </p:cNvPr>
          <p:cNvSpPr txBox="1"/>
          <p:nvPr/>
        </p:nvSpPr>
        <p:spPr>
          <a:xfrm>
            <a:off x="35460530" y="20672443"/>
            <a:ext cx="6039289" cy="3539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300" dirty="0">
                <a:solidFill>
                  <a:schemeClr val="bg1"/>
                </a:solidFill>
              </a:rPr>
              <a:t>Figure 6:Ratings counts per composition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1F96170-EBA3-814C-82B5-AAF7E517CF11}"/>
              </a:ext>
            </a:extLst>
          </p:cNvPr>
          <p:cNvCxnSpPr/>
          <p:nvPr/>
        </p:nvCxnSpPr>
        <p:spPr>
          <a:xfrm>
            <a:off x="4608134" y="6696795"/>
            <a:ext cx="6400800" cy="0"/>
          </a:xfrm>
          <a:prstGeom prst="line">
            <a:avLst/>
          </a:prstGeom>
          <a:ln w="28575" cmpd="sng">
            <a:headEnd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72BB756-4762-F446-9F95-C544D9EE1517}"/>
              </a:ext>
            </a:extLst>
          </p:cNvPr>
          <p:cNvCxnSpPr>
            <a:cxnSpLocks/>
          </p:cNvCxnSpPr>
          <p:nvPr/>
        </p:nvCxnSpPr>
        <p:spPr>
          <a:xfrm>
            <a:off x="3653583" y="14599142"/>
            <a:ext cx="8244610" cy="0"/>
          </a:xfrm>
          <a:prstGeom prst="line">
            <a:avLst/>
          </a:prstGeom>
          <a:ln w="28575" cmpd="sng">
            <a:headEnd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BF486BF-FE9E-8B4C-8CA1-181D5774E2A3}"/>
              </a:ext>
            </a:extLst>
          </p:cNvPr>
          <p:cNvCxnSpPr>
            <a:cxnSpLocks/>
          </p:cNvCxnSpPr>
          <p:nvPr/>
        </p:nvCxnSpPr>
        <p:spPr>
          <a:xfrm>
            <a:off x="16832212" y="11161291"/>
            <a:ext cx="9252622" cy="0"/>
          </a:xfrm>
          <a:prstGeom prst="line">
            <a:avLst/>
          </a:prstGeom>
          <a:ln w="28575" cmpd="sng">
            <a:solidFill>
              <a:schemeClr val="accent2">
                <a:lumMod val="60000"/>
                <a:lumOff val="40000"/>
              </a:schemeClr>
            </a:solidFill>
            <a:headEnd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D0F61F91-B6D5-8642-9088-91A746D1175B}"/>
              </a:ext>
            </a:extLst>
          </p:cNvPr>
          <p:cNvCxnSpPr/>
          <p:nvPr/>
        </p:nvCxnSpPr>
        <p:spPr>
          <a:xfrm>
            <a:off x="18256583" y="26066947"/>
            <a:ext cx="6400800" cy="0"/>
          </a:xfrm>
          <a:prstGeom prst="line">
            <a:avLst/>
          </a:prstGeom>
          <a:ln w="28575" cmpd="sng">
            <a:solidFill>
              <a:schemeClr val="accent2">
                <a:lumMod val="60000"/>
                <a:lumOff val="40000"/>
              </a:schemeClr>
            </a:solidFill>
            <a:headEnd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1838DD0-7D55-CA47-8BCB-A00EF69E199D}"/>
              </a:ext>
            </a:extLst>
          </p:cNvPr>
          <p:cNvCxnSpPr/>
          <p:nvPr/>
        </p:nvCxnSpPr>
        <p:spPr>
          <a:xfrm>
            <a:off x="32070336" y="22610563"/>
            <a:ext cx="6400800" cy="0"/>
          </a:xfrm>
          <a:prstGeom prst="line">
            <a:avLst/>
          </a:prstGeom>
          <a:ln w="28575" cmpd="sng">
            <a:solidFill>
              <a:srgbClr val="008000"/>
            </a:solidFill>
            <a:headEnd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81583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New Brand">
      <a:dk1>
        <a:sysClr val="windowText" lastClr="000000"/>
      </a:dk1>
      <a:lt1>
        <a:sysClr val="window" lastClr="FFFFFF"/>
      </a:lt1>
      <a:dk2>
        <a:srgbClr val="7F7F7F"/>
      </a:dk2>
      <a:lt2>
        <a:srgbClr val="E7E8E9"/>
      </a:lt2>
      <a:accent1>
        <a:srgbClr val="0072CE"/>
      </a:accent1>
      <a:accent2>
        <a:srgbClr val="78C043"/>
      </a:accent2>
      <a:accent3>
        <a:srgbClr val="865BBC"/>
      </a:accent3>
      <a:accent4>
        <a:srgbClr val="00B2AC"/>
      </a:accent4>
      <a:accent5>
        <a:srgbClr val="DA0C6F"/>
      </a:accent5>
      <a:accent6>
        <a:srgbClr val="FFFFFF"/>
      </a:accent6>
      <a:hlink>
        <a:srgbClr val="000000"/>
      </a:hlink>
      <a:folHlink>
        <a:srgbClr val="000000"/>
      </a:folHlink>
    </a:clrScheme>
    <a:fontScheme name="Custom 1">
      <a:majorFont>
        <a:latin typeface="Credit Suisse Headline"/>
        <a:ea typeface=""/>
        <a:cs typeface=""/>
      </a:majorFont>
      <a:minorFont>
        <a:latin typeface="Credit Suisse Type 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72CE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buFont typeface="Wingdings" panose="05000000000000000000" pitchFamily="2" charset="2"/>
          <a:buChar char="§"/>
          <a:defRPr sz="1200" dirty="0" smtClean="0"/>
        </a:defPPr>
      </a:lstStyle>
    </a:txDef>
  </a:objectDefaults>
  <a:extraClrSchemeLst/>
  <a:custClrLst>
    <a:custClr name="Credit Suisse Blue">
      <a:srgbClr val="0072CE"/>
    </a:custClr>
    <a:custClr name="Credit Suisse Turquoise">
      <a:srgbClr val="00B2AC"/>
    </a:custClr>
    <a:custClr name="Credit Suisse Green">
      <a:srgbClr val="78C048"/>
    </a:custClr>
    <a:custClr name="Credit Suisse Purple">
      <a:srgbClr val="865BBC"/>
    </a:custClr>
    <a:custClr name="Credit Suisse Magenta">
      <a:srgbClr val="DA0C6F"/>
    </a:custClr>
    <a:custClr name="Credit Suisse Black">
      <a:srgbClr val="000000"/>
    </a:custClr>
    <a:custClr name="Credit Suisse Grey 3">
      <a:srgbClr val="DADADA"/>
    </a:custClr>
    <a:custClr name="White">
      <a:srgbClr val="FFFFFF"/>
    </a:custClr>
    <a:custClr name="White">
      <a:srgbClr val="FFFFFF"/>
    </a:custClr>
    <a:custClr name="RAG Green">
      <a:srgbClr val="008000"/>
    </a:custClr>
    <a:custClr name="Credit Suisse Dark Blue">
      <a:srgbClr val="003868"/>
    </a:custClr>
    <a:custClr name="Credit Suisse Dark Turquoise">
      <a:srgbClr val="005B66"/>
    </a:custClr>
    <a:custClr name="Credit Suisse Dark Green">
      <a:srgbClr val="00562A"/>
    </a:custClr>
    <a:custClr name="Credit Suisse Dark Purple">
      <a:srgbClr val="4C227C"/>
    </a:custClr>
    <a:custClr name="Credit Suisse Dark Magenta">
      <a:srgbClr val="7A004C"/>
    </a:custClr>
    <a:custClr name="Credit Suisse Grey 6">
      <a:srgbClr val="575756"/>
    </a:custClr>
    <a:custClr name="Credit Suisse Grey 2">
      <a:srgbClr val="E6E7E8"/>
    </a:custClr>
    <a:custClr name="White">
      <a:srgbClr val="FFFFFF"/>
    </a:custClr>
    <a:custClr name="White">
      <a:srgbClr val="FFFFFF"/>
    </a:custClr>
    <a:custClr name="RAG Red">
      <a:srgbClr val="D91E18"/>
    </a:custClr>
    <a:custClr name="Credit Suisse Mid Blue">
      <a:srgbClr val="004C97"/>
    </a:custClr>
    <a:custClr name="Credit Suisse Mid Turquoise">
      <a:srgbClr val="007D84"/>
    </a:custClr>
    <a:custClr name="Credit Suisse Mid Green">
      <a:srgbClr val="1F7C34"/>
    </a:custClr>
    <a:custClr name="Credit Suisse Mid Purple">
      <a:srgbClr val="633F9A"/>
    </a:custClr>
    <a:custClr name="Credit Suisse Mid Magenta">
      <a:srgbClr val="B4006E"/>
    </a:custClr>
    <a:custClr name="Credit Suisse Grey 5">
      <a:srgbClr val="7C7C7B"/>
    </a:custClr>
    <a:custClr name="Credit Suisse Grey 1">
      <a:srgbClr val="F1F2F2"/>
    </a:custClr>
    <a:custClr name="White">
      <a:srgbClr val="FFFFFF"/>
    </a:custClr>
    <a:custClr name="White">
      <a:srgbClr val="FFFFFF"/>
    </a:custClr>
    <a:custClr name="RAG Amber">
      <a:srgbClr val="FFB81C"/>
    </a:custClr>
    <a:custClr name="Credit Suisse Light Blue">
      <a:srgbClr val="ADC8E9"/>
    </a:custClr>
    <a:custClr name="Credit Suisse Light Turquoise">
      <a:srgbClr val="BFE5E2"/>
    </a:custClr>
    <a:custClr name="Credit Suisse Light Green">
      <a:srgbClr val="D5E9C1"/>
    </a:custClr>
    <a:custClr name="Credit Suisse Light Purple">
      <a:srgbClr val="D1C4E0"/>
    </a:custClr>
    <a:custClr name="Credit Suisse Light Magenta">
      <a:srgbClr val="F9C0CC"/>
    </a:custClr>
    <a:custClr name="Credit Suisse Grey 4">
      <a:srgbClr val="A8A8A7"/>
    </a:custClr>
    <a:custClr name="Credit Suisse 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3</TotalTime>
  <Words>358</Words>
  <Application>Microsoft Macintosh PowerPoint</Application>
  <PresentationFormat>Custom</PresentationFormat>
  <Paragraphs>7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edit Suisse Headline</vt:lpstr>
      <vt:lpstr>Credit Suisse Type Light</vt:lpstr>
      <vt:lpstr>Wingdings</vt:lpstr>
      <vt:lpstr>blank</vt:lpstr>
      <vt:lpstr>think-cell Slide</vt:lpstr>
      <vt:lpstr>PowerPoint Presentation</vt:lpstr>
    </vt:vector>
  </TitlesOfParts>
  <Company>Credit Suisse</Company>
  <LinksUpToDate>false</LinksUpToDate>
  <SharedDoc>false</SharedDoc>
  <HyperlinksChanged>false</HyperlinksChanged>
  <AppVersion>16.001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kker Attila (KVNA 24)</dc:creator>
  <cp:lastModifiedBy>Perrone, Leonardo</cp:lastModifiedBy>
  <cp:revision>17</cp:revision>
  <dcterms:created xsi:type="dcterms:W3CDTF">2019-01-17T08:00:04Z</dcterms:created>
  <dcterms:modified xsi:type="dcterms:W3CDTF">2019-01-19T19:31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IQPDocumentId">
    <vt:lpwstr>d834b02a-1bdd-4641-998e-7843c391e48d</vt:lpwstr>
  </property>
  <property fmtid="{D5CDD505-2E9C-101B-9397-08002B2CF9AE}" pid="3" name="_AdHocReviewCycleID">
    <vt:i4>1977639554</vt:i4>
  </property>
  <property fmtid="{D5CDD505-2E9C-101B-9397-08002B2CF9AE}" pid="4" name="_NewReviewCycle">
    <vt:lpwstr/>
  </property>
  <property fmtid="{D5CDD505-2E9C-101B-9397-08002B2CF9AE}" pid="5" name="_EmailSubject">
    <vt:lpwstr>ada template</vt:lpwstr>
  </property>
  <property fmtid="{D5CDD505-2E9C-101B-9397-08002B2CF9AE}" pid="6" name="_AuthorEmail">
    <vt:lpwstr>attila.bekker@credit-suisse.com</vt:lpwstr>
  </property>
  <property fmtid="{D5CDD505-2E9C-101B-9397-08002B2CF9AE}" pid="7" name="_AuthorEmailDisplayName">
    <vt:lpwstr>Bekker, Attila (MIRF 105)</vt:lpwstr>
  </property>
  <property fmtid="{D5CDD505-2E9C-101B-9397-08002B2CF9AE}" pid="8" name="_PreviousAdHocReviewCycleID">
    <vt:i4>1687664083</vt:i4>
  </property>
  <property fmtid="{D5CDD505-2E9C-101B-9397-08002B2CF9AE}" pid="9" name="_SIProp12DataClass+304a34c9-5b17-4e2a-bdc3-dec6a43f35e7">
    <vt:lpwstr>v=1.2&gt;I=304a34c9-5b17-4e2a-bdc3-dec6a43f35e7&amp;N=Unrestricted&amp;V=1.3&amp;U=S-1-5-21-3718294971-3193642644-4012788348-20119&amp;D=Bekker%2c+Attila+(MIRF+105)&amp;A=Associated&amp;H=False</vt:lpwstr>
  </property>
  <property fmtid="{D5CDD505-2E9C-101B-9397-08002B2CF9AE}" pid="10" name="Classification">
    <vt:lpwstr>Unrestricted</vt:lpwstr>
  </property>
</Properties>
</file>